
<file path=[Content_Types].xml><?xml version="1.0" encoding="utf-8"?>
<Types xmlns="http://schemas.openxmlformats.org/package/2006/content-types">
  <Default Extension="jpeg" ContentType="image/jpeg"/>
  <Default Extension="JPG" ContentType="image/.jpg"/>
  <Default Extension="wav" ContentType="audio/x-wav"/>
  <Default Extension="png" ContentType="image/png"/>
  <Default Extension="wdp" ContentType="image/vnd.ms-photo"/>
  <Default Extension="gif" ContentType="image/gif"/>
  <Default Extension="mp4" ContentType="video/mp4"/>
  <Default Extension="mp3" ContentType="audio/mp3"/>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diagrams/colors1.xml" ContentType="application/vnd.openxmlformats-officedocument.drawingml.diagramColors+xml"/>
  <Override PartName="/ppt/diagrams/colors2.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fonts/font1.fntdata" ContentType="application/x-fontdata"/>
  <Override PartName="/ppt/fonts/font2.fntdata" ContentType="application/x-fontdata"/>
  <Override PartName="/ppt/fonts/font3.fntdata" ContentType="application/x-fontdata"/>
  <Override PartName="/ppt/fonts/font4.fntdata" ContentType="application/x-fontdata"/>
  <Override PartName="/ppt/fonts/font5.fntdata" ContentType="application/x-fontdata"/>
  <Override PartName="/ppt/fonts/font6.fntdata" ContentType="application/x-fontdata"/>
  <Override PartName="/ppt/fonts/font7.fntdata" ContentType="application/x-fontdata"/>
  <Override PartName="/ppt/fonts/font8.fntdata" ContentType="application/x-fontdata"/>
  <Override PartName="/ppt/fonts/font9.fntdata" ContentType="application/x-fontdata"/>
  <Override PartName="/ppt/media/image101.svg" ContentType="image/svg+xml"/>
  <Override PartName="/ppt/media/image103.svg" ContentType="image/svg+xml"/>
  <Override PartName="/ppt/media/image105.svg" ContentType="image/svg+xml"/>
  <Override PartName="/ppt/media/image107.svg" ContentType="image/svg+xml"/>
  <Override PartName="/ppt/media/image11.svg" ContentType="image/svg+xml"/>
  <Override PartName="/ppt/media/image15.svg" ContentType="image/svg+xml"/>
  <Override PartName="/ppt/media/image17.svg" ContentType="image/svg+xml"/>
  <Override PartName="/ppt/media/image19.svg" ContentType="image/svg+xml"/>
  <Override PartName="/ppt/media/image2.svg" ContentType="image/svg+xml"/>
  <Override PartName="/ppt/media/image21.svg" ContentType="image/svg+xml"/>
  <Override PartName="/ppt/media/image23.svg" ContentType="image/svg+xml"/>
  <Override PartName="/ppt/media/image25.svg" ContentType="image/svg+xml"/>
  <Override PartName="/ppt/media/image36.svg" ContentType="image/svg+xml"/>
  <Override PartName="/ppt/media/image38.svg" ContentType="image/svg+xml"/>
  <Override PartName="/ppt/media/image67.svg" ContentType="image/svg+xml"/>
  <Override PartName="/ppt/media/image77.svg" ContentType="image/svg+xml"/>
  <Override PartName="/ppt/media/image79.svg" ContentType="image/svg+xml"/>
  <Override PartName="/ppt/media/image81.svg" ContentType="image/svg+xml"/>
  <Override PartName="/ppt/media/image83.svg" ContentType="image/svg+xml"/>
  <Override PartName="/ppt/media/image85.svg" ContentType="image/svg+xml"/>
  <Override PartName="/ppt/media/image87.svg" ContentType="image/svg+xml"/>
  <Override PartName="/ppt/media/image89.svg" ContentType="image/svg+xml"/>
  <Override PartName="/ppt/media/image91.svg" ContentType="image/svg+xml"/>
  <Override PartName="/ppt/media/image93.svg" ContentType="image/svg+xml"/>
  <Override PartName="/ppt/media/image95.svg" ContentType="image/svg+xml"/>
  <Override PartName="/ppt/media/image97.svg" ContentType="image/svg+xml"/>
  <Override PartName="/ppt/media/image9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4"/>
  </p:notesMasterIdLst>
  <p:sldIdLst>
    <p:sldId id="269" r:id="rId3"/>
    <p:sldId id="272" r:id="rId5"/>
    <p:sldId id="344" r:id="rId6"/>
    <p:sldId id="345" r:id="rId7"/>
    <p:sldId id="346" r:id="rId8"/>
    <p:sldId id="347" r:id="rId9"/>
    <p:sldId id="348" r:id="rId10"/>
    <p:sldId id="278" r:id="rId11"/>
    <p:sldId id="261" r:id="rId12"/>
    <p:sldId id="260" r:id="rId13"/>
    <p:sldId id="360" r:id="rId14"/>
    <p:sldId id="349" r:id="rId15"/>
    <p:sldId id="266" r:id="rId16"/>
    <p:sldId id="256" r:id="rId17"/>
    <p:sldId id="302" r:id="rId18"/>
    <p:sldId id="280" r:id="rId19"/>
    <p:sldId id="264" r:id="rId20"/>
    <p:sldId id="258" r:id="rId21"/>
    <p:sldId id="350" r:id="rId22"/>
    <p:sldId id="351" r:id="rId23"/>
    <p:sldId id="352" r:id="rId24"/>
    <p:sldId id="353" r:id="rId25"/>
    <p:sldId id="354" r:id="rId26"/>
    <p:sldId id="355" r:id="rId27"/>
    <p:sldId id="356" r:id="rId28"/>
    <p:sldId id="357" r:id="rId29"/>
    <p:sldId id="358" r:id="rId30"/>
    <p:sldId id="359" r:id="rId31"/>
    <p:sldId id="267" r:id="rId32"/>
    <p:sldId id="313" r:id="rId33"/>
    <p:sldId id="291" r:id="rId34"/>
    <p:sldId id="315" r:id="rId35"/>
    <p:sldId id="273" r:id="rId36"/>
    <p:sldId id="314" r:id="rId37"/>
    <p:sldId id="292" r:id="rId38"/>
    <p:sldId id="316" r:id="rId39"/>
    <p:sldId id="293" r:id="rId40"/>
    <p:sldId id="317" r:id="rId41"/>
    <p:sldId id="318" r:id="rId42"/>
    <p:sldId id="319" r:id="rId43"/>
    <p:sldId id="276" r:id="rId44"/>
    <p:sldId id="294" r:id="rId45"/>
    <p:sldId id="295" r:id="rId46"/>
    <p:sldId id="320" r:id="rId47"/>
    <p:sldId id="296" r:id="rId48"/>
    <p:sldId id="297" r:id="rId49"/>
    <p:sldId id="321" r:id="rId50"/>
    <p:sldId id="298" r:id="rId51"/>
    <p:sldId id="299" r:id="rId52"/>
  </p:sldIdLst>
  <p:sldSz cx="18288000" cy="10287000"/>
  <p:notesSz cx="6858000" cy="9144000"/>
  <p:embeddedFontLst>
    <p:embeddedFont>
      <p:font typeface="Bryndan Write" panose="02000503000000000000"/>
      <p:regular r:id="rId56"/>
    </p:embeddedFont>
    <p:embeddedFont>
      <p:font typeface="Calibri" panose="020F0502020204030204" charset="0"/>
      <p:regular r:id="rId57"/>
      <p:bold r:id="rId58"/>
      <p:italic r:id="rId59"/>
      <p:boldItalic r:id="rId60"/>
    </p:embeddedFont>
    <p:embeddedFont>
      <p:font typeface="Calibri" panose="020F0502020204030204"/>
      <p:regular r:id="rId61"/>
      <p:bold r:id="rId62"/>
      <p:italic r:id="rId63"/>
      <p:boldItalic r:id="rId6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autoAdjust="0"/>
    <p:restoredTop sz="94622" autoAdjust="0"/>
  </p:normalViewPr>
  <p:slideViewPr>
    <p:cSldViewPr showGuides="1">
      <p:cViewPr varScale="1">
        <p:scale>
          <a:sx n="44" d="100"/>
          <a:sy n="44" d="100"/>
        </p:scale>
        <p:origin x="660" y="2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4" Type="http://schemas.openxmlformats.org/officeDocument/2006/relationships/font" Target="fonts/font9.fntdata"/><Relationship Id="rId63" Type="http://schemas.openxmlformats.org/officeDocument/2006/relationships/font" Target="fonts/font8.fntdata"/><Relationship Id="rId62" Type="http://schemas.openxmlformats.org/officeDocument/2006/relationships/font" Target="fonts/font7.fntdata"/><Relationship Id="rId61" Type="http://schemas.openxmlformats.org/officeDocument/2006/relationships/font" Target="fonts/font6.fntdata"/><Relationship Id="rId60" Type="http://schemas.openxmlformats.org/officeDocument/2006/relationships/font" Target="fonts/font5.fntdata"/><Relationship Id="rId6" Type="http://schemas.openxmlformats.org/officeDocument/2006/relationships/slide" Target="slides/slide3.xml"/><Relationship Id="rId59" Type="http://schemas.openxmlformats.org/officeDocument/2006/relationships/font" Target="fonts/font4.fntdata"/><Relationship Id="rId58" Type="http://schemas.openxmlformats.org/officeDocument/2006/relationships/font" Target="fonts/font3.fntdata"/><Relationship Id="rId57" Type="http://schemas.openxmlformats.org/officeDocument/2006/relationships/font" Target="fonts/font2.fntdata"/><Relationship Id="rId56" Type="http://schemas.openxmlformats.org/officeDocument/2006/relationships/font" Target="fonts/font1.fntdata"/><Relationship Id="rId55" Type="http://schemas.openxmlformats.org/officeDocument/2006/relationships/tableStyles" Target="tableStyles.xml"/><Relationship Id="rId54" Type="http://schemas.openxmlformats.org/officeDocument/2006/relationships/viewProps" Target="viewProps.xml"/><Relationship Id="rId53" Type="http://schemas.openxmlformats.org/officeDocument/2006/relationships/presProps" Target="presProps.xml"/><Relationship Id="rId52" Type="http://schemas.openxmlformats.org/officeDocument/2006/relationships/slide" Target="slides/slide49.xml"/><Relationship Id="rId51" Type="http://schemas.openxmlformats.org/officeDocument/2006/relationships/slide" Target="slides/slide48.xml"/><Relationship Id="rId50" Type="http://schemas.openxmlformats.org/officeDocument/2006/relationships/slide" Target="slides/slide47.xml"/><Relationship Id="rId5" Type="http://schemas.openxmlformats.org/officeDocument/2006/relationships/slide" Target="slides/slide2.xml"/><Relationship Id="rId49" Type="http://schemas.openxmlformats.org/officeDocument/2006/relationships/slide" Target="slides/slide46.xml"/><Relationship Id="rId48" Type="http://schemas.openxmlformats.org/officeDocument/2006/relationships/slide" Target="slides/slide45.xml"/><Relationship Id="rId47" Type="http://schemas.openxmlformats.org/officeDocument/2006/relationships/slide" Target="slides/slide44.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notesMaster" Target="notesMasters/notesMaster1.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956EC2BC-0969-436B-9406-70031A76771B}" type="doc">
      <dgm:prSet loTypeId="urn:microsoft.com/office/officeart/2005/8/layout/pyramid1" loCatId="pyramid" qsTypeId="urn:microsoft.com/office/officeart/2005/8/quickstyle/3d4" qsCatId="3D" csTypeId="urn:microsoft.com/office/officeart/2005/8/colors/colorful4" csCatId="colorful" phldr="1"/>
      <dgm:spPr/>
    </dgm:pt>
    <dgm:pt modelId="{D10AA20B-3772-4081-A4EF-A8C2331E7706}">
      <dgm:prSet phldrT="[Text]"/>
      <dgm:spPr/>
      <dgm:t>
        <a:bodyPr/>
        <a:lstStyle/>
        <a:p>
          <a:r>
            <a:rPr lang="en-US" dirty="0"/>
            <a:t>?</a:t>
          </a:r>
        </a:p>
      </dgm:t>
    </dgm:pt>
    <dgm:pt modelId="{AB612E10-7165-4404-8BED-306B0A81BC00}" cxnId="{0B2834FE-AE16-4888-A34B-C99220A217E8}" type="parTrans">
      <dgm:prSet/>
      <dgm:spPr/>
      <dgm:t>
        <a:bodyPr/>
        <a:lstStyle/>
        <a:p>
          <a:endParaRPr lang="en-US"/>
        </a:p>
      </dgm:t>
    </dgm:pt>
    <dgm:pt modelId="{B8C519C9-87CB-48D9-93FA-7DA321FBD717}" cxnId="{0B2834FE-AE16-4888-A34B-C99220A217E8}" type="sibTrans">
      <dgm:prSet/>
      <dgm:spPr/>
      <dgm:t>
        <a:bodyPr/>
        <a:lstStyle/>
        <a:p>
          <a:endParaRPr lang="en-US"/>
        </a:p>
      </dgm:t>
    </dgm:pt>
    <dgm:pt modelId="{79C3586E-B292-470B-9719-A7AA57CA7FFA}">
      <dgm:prSet phldrT="[Text]"/>
      <dgm:spPr/>
      <dgm:t>
        <a:bodyPr/>
        <a:lstStyle/>
        <a:p>
          <a:r>
            <a:rPr lang="en-US" dirty="0"/>
            <a:t>?</a:t>
          </a:r>
        </a:p>
      </dgm:t>
    </dgm:pt>
    <dgm:pt modelId="{384A36CC-D9EF-4C01-999E-6E2CA212D016}" cxnId="{50023EB4-9E8D-42C3-BA97-B0545041C0AA}" type="parTrans">
      <dgm:prSet/>
      <dgm:spPr/>
      <dgm:t>
        <a:bodyPr/>
        <a:lstStyle/>
        <a:p>
          <a:endParaRPr lang="en-US"/>
        </a:p>
      </dgm:t>
    </dgm:pt>
    <dgm:pt modelId="{8A00BDAE-F6EF-4E6B-A57C-4853FB3AE4D8}" cxnId="{50023EB4-9E8D-42C3-BA97-B0545041C0AA}" type="sibTrans">
      <dgm:prSet/>
      <dgm:spPr/>
      <dgm:t>
        <a:bodyPr/>
        <a:lstStyle/>
        <a:p>
          <a:endParaRPr lang="en-US"/>
        </a:p>
      </dgm:t>
    </dgm:pt>
    <dgm:pt modelId="{C22EE991-41D7-4AD8-8506-9D5D58F1364E}">
      <dgm:prSet phldrT="[Text]"/>
      <dgm:spPr/>
      <dgm:t>
        <a:bodyPr/>
        <a:lstStyle/>
        <a:p>
          <a:r>
            <a:rPr lang="en-US" dirty="0"/>
            <a:t>?</a:t>
          </a:r>
        </a:p>
      </dgm:t>
    </dgm:pt>
    <dgm:pt modelId="{B1750C10-0550-405B-B207-4E2D1B196907}" cxnId="{FCD154C8-F517-46FD-B174-21F8D2FDD5AB}" type="parTrans">
      <dgm:prSet/>
      <dgm:spPr/>
      <dgm:t>
        <a:bodyPr/>
        <a:lstStyle/>
        <a:p>
          <a:endParaRPr lang="en-US"/>
        </a:p>
      </dgm:t>
    </dgm:pt>
    <dgm:pt modelId="{F8919FE6-6CCA-4C21-ACA3-90D9098D029F}" cxnId="{FCD154C8-F517-46FD-B174-21F8D2FDD5AB}" type="sibTrans">
      <dgm:prSet/>
      <dgm:spPr/>
      <dgm:t>
        <a:bodyPr/>
        <a:lstStyle/>
        <a:p>
          <a:endParaRPr lang="en-US"/>
        </a:p>
      </dgm:t>
    </dgm:pt>
    <dgm:pt modelId="{53069E38-ADDA-47CB-954F-706563C402AA}" type="pres">
      <dgm:prSet presAssocID="{956EC2BC-0969-436B-9406-70031A76771B}" presName="Name0" presStyleCnt="0">
        <dgm:presLayoutVars>
          <dgm:dir/>
          <dgm:animLvl val="lvl"/>
          <dgm:resizeHandles val="exact"/>
        </dgm:presLayoutVars>
      </dgm:prSet>
      <dgm:spPr/>
    </dgm:pt>
    <dgm:pt modelId="{28E32AEA-614A-40FD-AC42-B28CEFD885FA}" type="pres">
      <dgm:prSet presAssocID="{D10AA20B-3772-4081-A4EF-A8C2331E7706}" presName="Name8" presStyleCnt="0"/>
      <dgm:spPr/>
    </dgm:pt>
    <dgm:pt modelId="{DC80D8D1-50C5-42B2-BFE0-17FDA45E5718}" type="pres">
      <dgm:prSet presAssocID="{D10AA20B-3772-4081-A4EF-A8C2331E7706}" presName="level" presStyleLbl="node1" presStyleIdx="0" presStyleCnt="3">
        <dgm:presLayoutVars>
          <dgm:chMax val="1"/>
          <dgm:bulletEnabled val="1"/>
        </dgm:presLayoutVars>
      </dgm:prSet>
      <dgm:spPr/>
    </dgm:pt>
    <dgm:pt modelId="{966536BF-56B5-4BE7-9492-20CB2DABDD55}" type="pres">
      <dgm:prSet presAssocID="{D10AA20B-3772-4081-A4EF-A8C2331E7706}" presName="levelTx" presStyleLbl="revTx" presStyleIdx="0" presStyleCnt="0">
        <dgm:presLayoutVars>
          <dgm:chMax val="1"/>
          <dgm:bulletEnabled val="1"/>
        </dgm:presLayoutVars>
      </dgm:prSet>
      <dgm:spPr/>
    </dgm:pt>
    <dgm:pt modelId="{2301B333-0EA7-4396-AE69-0185ACD24DBE}" type="pres">
      <dgm:prSet presAssocID="{79C3586E-B292-470B-9719-A7AA57CA7FFA}" presName="Name8" presStyleCnt="0"/>
      <dgm:spPr/>
    </dgm:pt>
    <dgm:pt modelId="{27D8CC32-91B0-4BA9-9DCF-90068A76D219}" type="pres">
      <dgm:prSet presAssocID="{79C3586E-B292-470B-9719-A7AA57CA7FFA}" presName="level" presStyleLbl="node1" presStyleIdx="1" presStyleCnt="3">
        <dgm:presLayoutVars>
          <dgm:chMax val="1"/>
          <dgm:bulletEnabled val="1"/>
        </dgm:presLayoutVars>
      </dgm:prSet>
      <dgm:spPr/>
    </dgm:pt>
    <dgm:pt modelId="{09186D2B-F8EC-4742-96F2-2133115A4833}" type="pres">
      <dgm:prSet presAssocID="{79C3586E-B292-470B-9719-A7AA57CA7FFA}" presName="levelTx" presStyleLbl="revTx" presStyleIdx="0" presStyleCnt="0">
        <dgm:presLayoutVars>
          <dgm:chMax val="1"/>
          <dgm:bulletEnabled val="1"/>
        </dgm:presLayoutVars>
      </dgm:prSet>
      <dgm:spPr/>
    </dgm:pt>
    <dgm:pt modelId="{4503058E-0B17-4094-AC87-DCADF649D5CE}" type="pres">
      <dgm:prSet presAssocID="{C22EE991-41D7-4AD8-8506-9D5D58F1364E}" presName="Name8" presStyleCnt="0"/>
      <dgm:spPr/>
    </dgm:pt>
    <dgm:pt modelId="{770396E2-0206-49E9-8088-D2721F49AD16}" type="pres">
      <dgm:prSet presAssocID="{C22EE991-41D7-4AD8-8506-9D5D58F1364E}" presName="level" presStyleLbl="node1" presStyleIdx="2" presStyleCnt="3">
        <dgm:presLayoutVars>
          <dgm:chMax val="1"/>
          <dgm:bulletEnabled val="1"/>
        </dgm:presLayoutVars>
      </dgm:prSet>
      <dgm:spPr/>
    </dgm:pt>
    <dgm:pt modelId="{A770E62A-8213-4480-8625-971B6844B3EA}" type="pres">
      <dgm:prSet presAssocID="{C22EE991-41D7-4AD8-8506-9D5D58F1364E}" presName="levelTx" presStyleLbl="revTx" presStyleIdx="0" presStyleCnt="0">
        <dgm:presLayoutVars>
          <dgm:chMax val="1"/>
          <dgm:bulletEnabled val="1"/>
        </dgm:presLayoutVars>
      </dgm:prSet>
      <dgm:spPr/>
    </dgm:pt>
  </dgm:ptLst>
  <dgm:cxnLst>
    <dgm:cxn modelId="{AF671806-CABC-42A4-99DC-29B17DBD6A5F}" type="presOf" srcId="{956EC2BC-0969-436B-9406-70031A76771B}" destId="{53069E38-ADDA-47CB-954F-706563C402AA}" srcOrd="0" destOrd="0" presId="urn:microsoft.com/office/officeart/2005/8/layout/pyramid1"/>
    <dgm:cxn modelId="{21EB601D-DBA6-4681-B16E-A5DF6CFE3BA0}" type="presOf" srcId="{D10AA20B-3772-4081-A4EF-A8C2331E7706}" destId="{966536BF-56B5-4BE7-9492-20CB2DABDD55}" srcOrd="1" destOrd="0" presId="urn:microsoft.com/office/officeart/2005/8/layout/pyramid1"/>
    <dgm:cxn modelId="{F41A802E-CF62-45AF-9961-919905D23B01}" type="presOf" srcId="{79C3586E-B292-470B-9719-A7AA57CA7FFA}" destId="{27D8CC32-91B0-4BA9-9DCF-90068A76D219}" srcOrd="0" destOrd="0" presId="urn:microsoft.com/office/officeart/2005/8/layout/pyramid1"/>
    <dgm:cxn modelId="{CEFF0C8F-AFA5-42E0-847F-417EDAC4774C}" type="presOf" srcId="{C22EE991-41D7-4AD8-8506-9D5D58F1364E}" destId="{A770E62A-8213-4480-8625-971B6844B3EA}" srcOrd="1" destOrd="0" presId="urn:microsoft.com/office/officeart/2005/8/layout/pyramid1"/>
    <dgm:cxn modelId="{7214F4AE-ED2E-4217-8EDB-677058BF5D9A}" type="presOf" srcId="{D10AA20B-3772-4081-A4EF-A8C2331E7706}" destId="{DC80D8D1-50C5-42B2-BFE0-17FDA45E5718}" srcOrd="0" destOrd="0" presId="urn:microsoft.com/office/officeart/2005/8/layout/pyramid1"/>
    <dgm:cxn modelId="{50023EB4-9E8D-42C3-BA97-B0545041C0AA}" srcId="{956EC2BC-0969-436B-9406-70031A76771B}" destId="{79C3586E-B292-470B-9719-A7AA57CA7FFA}" srcOrd="1" destOrd="0" parTransId="{384A36CC-D9EF-4C01-999E-6E2CA212D016}" sibTransId="{8A00BDAE-F6EF-4E6B-A57C-4853FB3AE4D8}"/>
    <dgm:cxn modelId="{F4EFEFB6-30D4-437F-8979-9AEF96109396}" type="presOf" srcId="{C22EE991-41D7-4AD8-8506-9D5D58F1364E}" destId="{770396E2-0206-49E9-8088-D2721F49AD16}" srcOrd="0" destOrd="0" presId="urn:microsoft.com/office/officeart/2005/8/layout/pyramid1"/>
    <dgm:cxn modelId="{FCD154C8-F517-46FD-B174-21F8D2FDD5AB}" srcId="{956EC2BC-0969-436B-9406-70031A76771B}" destId="{C22EE991-41D7-4AD8-8506-9D5D58F1364E}" srcOrd="2" destOrd="0" parTransId="{B1750C10-0550-405B-B207-4E2D1B196907}" sibTransId="{F8919FE6-6CCA-4C21-ACA3-90D9098D029F}"/>
    <dgm:cxn modelId="{5F194BE8-DB17-48EC-8920-06AEAE3EBEDC}" type="presOf" srcId="{79C3586E-B292-470B-9719-A7AA57CA7FFA}" destId="{09186D2B-F8EC-4742-96F2-2133115A4833}" srcOrd="1" destOrd="0" presId="urn:microsoft.com/office/officeart/2005/8/layout/pyramid1"/>
    <dgm:cxn modelId="{0B2834FE-AE16-4888-A34B-C99220A217E8}" srcId="{956EC2BC-0969-436B-9406-70031A76771B}" destId="{D10AA20B-3772-4081-A4EF-A8C2331E7706}" srcOrd="0" destOrd="0" parTransId="{AB612E10-7165-4404-8BED-306B0A81BC00}" sibTransId="{B8C519C9-87CB-48D9-93FA-7DA321FBD717}"/>
    <dgm:cxn modelId="{88700EF6-3D9C-4B03-8AFA-476756F904B0}" type="presParOf" srcId="{53069E38-ADDA-47CB-954F-706563C402AA}" destId="{28E32AEA-614A-40FD-AC42-B28CEFD885FA}" srcOrd="0" destOrd="0" presId="urn:microsoft.com/office/officeart/2005/8/layout/pyramid1"/>
    <dgm:cxn modelId="{C9F29F46-0B0D-484D-85EF-01FD887FDC46}" type="presParOf" srcId="{28E32AEA-614A-40FD-AC42-B28CEFD885FA}" destId="{DC80D8D1-50C5-42B2-BFE0-17FDA45E5718}" srcOrd="0" destOrd="0" presId="urn:microsoft.com/office/officeart/2005/8/layout/pyramid1"/>
    <dgm:cxn modelId="{4B1E3CDB-FB6F-4AF1-A481-687AD7B70055}" type="presParOf" srcId="{28E32AEA-614A-40FD-AC42-B28CEFD885FA}" destId="{966536BF-56B5-4BE7-9492-20CB2DABDD55}" srcOrd="1" destOrd="0" presId="urn:microsoft.com/office/officeart/2005/8/layout/pyramid1"/>
    <dgm:cxn modelId="{BEE7755B-F8CF-46D4-94B8-2A46CCA7A123}" type="presParOf" srcId="{53069E38-ADDA-47CB-954F-706563C402AA}" destId="{2301B333-0EA7-4396-AE69-0185ACD24DBE}" srcOrd="1" destOrd="0" presId="urn:microsoft.com/office/officeart/2005/8/layout/pyramid1"/>
    <dgm:cxn modelId="{8AC9769D-6853-402F-B9CC-78E2E772B14B}" type="presParOf" srcId="{2301B333-0EA7-4396-AE69-0185ACD24DBE}" destId="{27D8CC32-91B0-4BA9-9DCF-90068A76D219}" srcOrd="0" destOrd="0" presId="urn:microsoft.com/office/officeart/2005/8/layout/pyramid1"/>
    <dgm:cxn modelId="{18FC121E-3695-4EAC-B54C-032039C035CD}" type="presParOf" srcId="{2301B333-0EA7-4396-AE69-0185ACD24DBE}" destId="{09186D2B-F8EC-4742-96F2-2133115A4833}" srcOrd="1" destOrd="0" presId="urn:microsoft.com/office/officeart/2005/8/layout/pyramid1"/>
    <dgm:cxn modelId="{50443565-6710-4F82-B8E9-2108A95E797F}" type="presParOf" srcId="{53069E38-ADDA-47CB-954F-706563C402AA}" destId="{4503058E-0B17-4094-AC87-DCADF649D5CE}" srcOrd="2" destOrd="0" presId="urn:microsoft.com/office/officeart/2005/8/layout/pyramid1"/>
    <dgm:cxn modelId="{71330DD0-E5AA-4A5F-98E0-872A82165C75}" type="presParOf" srcId="{4503058E-0B17-4094-AC87-DCADF649D5CE}" destId="{770396E2-0206-49E9-8088-D2721F49AD16}" srcOrd="0" destOrd="0" presId="urn:microsoft.com/office/officeart/2005/8/layout/pyramid1"/>
    <dgm:cxn modelId="{53A10A2D-A9CE-4E04-AABD-1A424BFCA7AA}" type="presParOf" srcId="{4503058E-0B17-4094-AC87-DCADF649D5CE}" destId="{A770E62A-8213-4480-8625-971B6844B3EA}"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56EC2BC-0969-436B-9406-70031A76771B}" type="doc">
      <dgm:prSet loTypeId="urn:microsoft.com/office/officeart/2005/8/layout/pyramid1" loCatId="pyramid" qsTypeId="urn:microsoft.com/office/officeart/2005/8/quickstyle/3d4" qsCatId="3D" csTypeId="urn:microsoft.com/office/officeart/2005/8/colors/colorful4" csCatId="colorful" phldr="1"/>
      <dgm:spPr/>
    </dgm:pt>
    <dgm:pt modelId="{D10AA20B-3772-4081-A4EF-A8C2331E7706}">
      <dgm:prSet phldrT="[Text]" custT="1"/>
      <dgm:spPr/>
      <dgm:t>
        <a:bodyPr/>
        <a:lstStyle/>
        <a:p>
          <a:r>
            <a:rPr lang="en-US" sz="2600" dirty="0" err="1"/>
            <a:t>Hùng</a:t>
          </a:r>
          <a:r>
            <a:rPr lang="en-US" sz="2600" dirty="0"/>
            <a:t> </a:t>
          </a:r>
        </a:p>
        <a:p>
          <a:r>
            <a:rPr lang="en-US" sz="2600" dirty="0" err="1"/>
            <a:t>Vương</a:t>
          </a:r>
          <a:endParaRPr lang="en-US" sz="2600" dirty="0"/>
        </a:p>
      </dgm:t>
    </dgm:pt>
    <dgm:pt modelId="{AB612E10-7165-4404-8BED-306B0A81BC00}" cxnId="{0B2834FE-AE16-4888-A34B-C99220A217E8}" type="parTrans">
      <dgm:prSet/>
      <dgm:spPr/>
      <dgm:t>
        <a:bodyPr/>
        <a:lstStyle/>
        <a:p>
          <a:endParaRPr lang="en-US" sz="3200"/>
        </a:p>
      </dgm:t>
    </dgm:pt>
    <dgm:pt modelId="{B8C519C9-87CB-48D9-93FA-7DA321FBD717}" cxnId="{0B2834FE-AE16-4888-A34B-C99220A217E8}" type="sibTrans">
      <dgm:prSet/>
      <dgm:spPr/>
      <dgm:t>
        <a:bodyPr/>
        <a:lstStyle/>
        <a:p>
          <a:endParaRPr lang="en-US" sz="3200"/>
        </a:p>
      </dgm:t>
    </dgm:pt>
    <dgm:pt modelId="{79C3586E-B292-470B-9719-A7AA57CA7FFA}">
      <dgm:prSet phldrT="[Text]" custT="1"/>
      <dgm:spPr/>
      <dgm:t>
        <a:bodyPr/>
        <a:lstStyle/>
        <a:p>
          <a:r>
            <a:rPr lang="en-US" sz="2500" dirty="0" err="1"/>
            <a:t>Lạc</a:t>
          </a:r>
          <a:r>
            <a:rPr lang="en-US" sz="2500" dirty="0"/>
            <a:t> </a:t>
          </a:r>
          <a:r>
            <a:rPr lang="en-US" sz="2500" dirty="0" err="1"/>
            <a:t>hầu</a:t>
          </a:r>
          <a:r>
            <a:rPr lang="en-US" sz="2500" dirty="0"/>
            <a:t> – </a:t>
          </a:r>
          <a:r>
            <a:rPr lang="en-US" sz="2500" dirty="0" err="1"/>
            <a:t>Lạc</a:t>
          </a:r>
          <a:r>
            <a:rPr lang="en-US" sz="2500" dirty="0"/>
            <a:t> </a:t>
          </a:r>
          <a:r>
            <a:rPr lang="en-US" sz="2500" dirty="0" err="1"/>
            <a:t>tướng</a:t>
          </a:r>
          <a:endParaRPr lang="en-US" sz="2500" dirty="0"/>
        </a:p>
        <a:p>
          <a:r>
            <a:rPr lang="en-US" sz="2500" dirty="0" err="1"/>
            <a:t>Đứng</a:t>
          </a:r>
          <a:r>
            <a:rPr lang="en-US" sz="2500" dirty="0"/>
            <a:t> </a:t>
          </a:r>
          <a:r>
            <a:rPr lang="en-US" sz="2500" dirty="0" err="1"/>
            <a:t>đầu</a:t>
          </a:r>
          <a:r>
            <a:rPr lang="en-US" sz="2500" dirty="0"/>
            <a:t> </a:t>
          </a:r>
          <a:r>
            <a:rPr lang="en-US" sz="2500" dirty="0" err="1"/>
            <a:t>các</a:t>
          </a:r>
          <a:r>
            <a:rPr lang="en-US" sz="2500" dirty="0"/>
            <a:t> </a:t>
          </a:r>
          <a:r>
            <a:rPr lang="en-US" sz="2500" dirty="0" err="1"/>
            <a:t>bộ</a:t>
          </a:r>
          <a:endParaRPr lang="en-US" sz="2500" dirty="0"/>
        </a:p>
      </dgm:t>
    </dgm:pt>
    <dgm:pt modelId="{384A36CC-D9EF-4C01-999E-6E2CA212D016}" cxnId="{50023EB4-9E8D-42C3-BA97-B0545041C0AA}" type="parTrans">
      <dgm:prSet/>
      <dgm:spPr/>
      <dgm:t>
        <a:bodyPr/>
        <a:lstStyle/>
        <a:p>
          <a:endParaRPr lang="en-US" sz="3200"/>
        </a:p>
      </dgm:t>
    </dgm:pt>
    <dgm:pt modelId="{8A00BDAE-F6EF-4E6B-A57C-4853FB3AE4D8}" cxnId="{50023EB4-9E8D-42C3-BA97-B0545041C0AA}" type="sibTrans">
      <dgm:prSet/>
      <dgm:spPr/>
      <dgm:t>
        <a:bodyPr/>
        <a:lstStyle/>
        <a:p>
          <a:endParaRPr lang="en-US" sz="3200"/>
        </a:p>
      </dgm:t>
    </dgm:pt>
    <dgm:pt modelId="{C22EE991-41D7-4AD8-8506-9D5D58F1364E}">
      <dgm:prSet phldrT="[Text]" custT="1"/>
      <dgm:spPr/>
      <dgm:t>
        <a:bodyPr/>
        <a:lstStyle/>
        <a:p>
          <a:r>
            <a:rPr lang="en-US" sz="2600" dirty="0" err="1"/>
            <a:t>Bồ</a:t>
          </a:r>
          <a:r>
            <a:rPr lang="en-US" sz="2600" dirty="0"/>
            <a:t> </a:t>
          </a:r>
          <a:r>
            <a:rPr lang="en-US" sz="2600" dirty="0" err="1"/>
            <a:t>chính</a:t>
          </a:r>
          <a:r>
            <a:rPr lang="en-US" sz="2600" dirty="0"/>
            <a:t> </a:t>
          </a:r>
        </a:p>
        <a:p>
          <a:r>
            <a:rPr lang="en-US" sz="2600" dirty="0"/>
            <a:t>(</a:t>
          </a:r>
          <a:r>
            <a:rPr lang="en-US" sz="2600" dirty="0" err="1"/>
            <a:t>đứng</a:t>
          </a:r>
          <a:r>
            <a:rPr lang="en-US" sz="2600" dirty="0"/>
            <a:t> </a:t>
          </a:r>
          <a:r>
            <a:rPr lang="en-US" sz="2600" dirty="0" err="1"/>
            <a:t>đầu</a:t>
          </a:r>
          <a:r>
            <a:rPr lang="en-US" sz="2600" dirty="0"/>
            <a:t> </a:t>
          </a:r>
          <a:r>
            <a:rPr lang="en-US" sz="2600" dirty="0" err="1"/>
            <a:t>chiềng</a:t>
          </a:r>
          <a:r>
            <a:rPr lang="en-US" sz="2600" dirty="0"/>
            <a:t>, </a:t>
          </a:r>
          <a:r>
            <a:rPr lang="en-US" sz="2600" dirty="0" err="1"/>
            <a:t>chạ</a:t>
          </a:r>
          <a:r>
            <a:rPr lang="en-US" sz="2600" dirty="0"/>
            <a:t>)</a:t>
          </a:r>
        </a:p>
      </dgm:t>
    </dgm:pt>
    <dgm:pt modelId="{B1750C10-0550-405B-B207-4E2D1B196907}" cxnId="{FCD154C8-F517-46FD-B174-21F8D2FDD5AB}" type="parTrans">
      <dgm:prSet/>
      <dgm:spPr/>
      <dgm:t>
        <a:bodyPr/>
        <a:lstStyle/>
        <a:p>
          <a:endParaRPr lang="en-US" sz="3200"/>
        </a:p>
      </dgm:t>
    </dgm:pt>
    <dgm:pt modelId="{F8919FE6-6CCA-4C21-ACA3-90D9098D029F}" cxnId="{FCD154C8-F517-46FD-B174-21F8D2FDD5AB}" type="sibTrans">
      <dgm:prSet/>
      <dgm:spPr/>
      <dgm:t>
        <a:bodyPr/>
        <a:lstStyle/>
        <a:p>
          <a:endParaRPr lang="en-US" sz="3200"/>
        </a:p>
      </dgm:t>
    </dgm:pt>
    <dgm:pt modelId="{53069E38-ADDA-47CB-954F-706563C402AA}" type="pres">
      <dgm:prSet presAssocID="{956EC2BC-0969-436B-9406-70031A76771B}" presName="Name0" presStyleCnt="0">
        <dgm:presLayoutVars>
          <dgm:dir/>
          <dgm:animLvl val="lvl"/>
          <dgm:resizeHandles val="exact"/>
        </dgm:presLayoutVars>
      </dgm:prSet>
      <dgm:spPr/>
    </dgm:pt>
    <dgm:pt modelId="{28E32AEA-614A-40FD-AC42-B28CEFD885FA}" type="pres">
      <dgm:prSet presAssocID="{D10AA20B-3772-4081-A4EF-A8C2331E7706}" presName="Name8" presStyleCnt="0"/>
      <dgm:spPr/>
    </dgm:pt>
    <dgm:pt modelId="{DC80D8D1-50C5-42B2-BFE0-17FDA45E5718}" type="pres">
      <dgm:prSet presAssocID="{D10AA20B-3772-4081-A4EF-A8C2331E7706}" presName="level" presStyleLbl="node1" presStyleIdx="0" presStyleCnt="3">
        <dgm:presLayoutVars>
          <dgm:chMax val="1"/>
          <dgm:bulletEnabled val="1"/>
        </dgm:presLayoutVars>
      </dgm:prSet>
      <dgm:spPr/>
    </dgm:pt>
    <dgm:pt modelId="{966536BF-56B5-4BE7-9492-20CB2DABDD55}" type="pres">
      <dgm:prSet presAssocID="{D10AA20B-3772-4081-A4EF-A8C2331E7706}" presName="levelTx" presStyleLbl="revTx" presStyleIdx="0" presStyleCnt="0">
        <dgm:presLayoutVars>
          <dgm:chMax val="1"/>
          <dgm:bulletEnabled val="1"/>
        </dgm:presLayoutVars>
      </dgm:prSet>
      <dgm:spPr/>
    </dgm:pt>
    <dgm:pt modelId="{2301B333-0EA7-4396-AE69-0185ACD24DBE}" type="pres">
      <dgm:prSet presAssocID="{79C3586E-B292-470B-9719-A7AA57CA7FFA}" presName="Name8" presStyleCnt="0"/>
      <dgm:spPr/>
    </dgm:pt>
    <dgm:pt modelId="{27D8CC32-91B0-4BA9-9DCF-90068A76D219}" type="pres">
      <dgm:prSet presAssocID="{79C3586E-B292-470B-9719-A7AA57CA7FFA}" presName="level" presStyleLbl="node1" presStyleIdx="1" presStyleCnt="3">
        <dgm:presLayoutVars>
          <dgm:chMax val="1"/>
          <dgm:bulletEnabled val="1"/>
        </dgm:presLayoutVars>
      </dgm:prSet>
      <dgm:spPr/>
    </dgm:pt>
    <dgm:pt modelId="{09186D2B-F8EC-4742-96F2-2133115A4833}" type="pres">
      <dgm:prSet presAssocID="{79C3586E-B292-470B-9719-A7AA57CA7FFA}" presName="levelTx" presStyleLbl="revTx" presStyleIdx="0" presStyleCnt="0">
        <dgm:presLayoutVars>
          <dgm:chMax val="1"/>
          <dgm:bulletEnabled val="1"/>
        </dgm:presLayoutVars>
      </dgm:prSet>
      <dgm:spPr/>
    </dgm:pt>
    <dgm:pt modelId="{4503058E-0B17-4094-AC87-DCADF649D5CE}" type="pres">
      <dgm:prSet presAssocID="{C22EE991-41D7-4AD8-8506-9D5D58F1364E}" presName="Name8" presStyleCnt="0"/>
      <dgm:spPr/>
    </dgm:pt>
    <dgm:pt modelId="{770396E2-0206-49E9-8088-D2721F49AD16}" type="pres">
      <dgm:prSet presAssocID="{C22EE991-41D7-4AD8-8506-9D5D58F1364E}" presName="level" presStyleLbl="node1" presStyleIdx="2" presStyleCnt="3">
        <dgm:presLayoutVars>
          <dgm:chMax val="1"/>
          <dgm:bulletEnabled val="1"/>
        </dgm:presLayoutVars>
      </dgm:prSet>
      <dgm:spPr/>
    </dgm:pt>
    <dgm:pt modelId="{A770E62A-8213-4480-8625-971B6844B3EA}" type="pres">
      <dgm:prSet presAssocID="{C22EE991-41D7-4AD8-8506-9D5D58F1364E}" presName="levelTx" presStyleLbl="revTx" presStyleIdx="0" presStyleCnt="0">
        <dgm:presLayoutVars>
          <dgm:chMax val="1"/>
          <dgm:bulletEnabled val="1"/>
        </dgm:presLayoutVars>
      </dgm:prSet>
      <dgm:spPr/>
    </dgm:pt>
  </dgm:ptLst>
  <dgm:cxnLst>
    <dgm:cxn modelId="{AF671806-CABC-42A4-99DC-29B17DBD6A5F}" type="presOf" srcId="{956EC2BC-0969-436B-9406-70031A76771B}" destId="{53069E38-ADDA-47CB-954F-706563C402AA}" srcOrd="0" destOrd="0" presId="urn:microsoft.com/office/officeart/2005/8/layout/pyramid1"/>
    <dgm:cxn modelId="{21EB601D-DBA6-4681-B16E-A5DF6CFE3BA0}" type="presOf" srcId="{D10AA20B-3772-4081-A4EF-A8C2331E7706}" destId="{966536BF-56B5-4BE7-9492-20CB2DABDD55}" srcOrd="1" destOrd="0" presId="urn:microsoft.com/office/officeart/2005/8/layout/pyramid1"/>
    <dgm:cxn modelId="{F41A802E-CF62-45AF-9961-919905D23B01}" type="presOf" srcId="{79C3586E-B292-470B-9719-A7AA57CA7FFA}" destId="{27D8CC32-91B0-4BA9-9DCF-90068A76D219}" srcOrd="0" destOrd="0" presId="urn:microsoft.com/office/officeart/2005/8/layout/pyramid1"/>
    <dgm:cxn modelId="{CEFF0C8F-AFA5-42E0-847F-417EDAC4774C}" type="presOf" srcId="{C22EE991-41D7-4AD8-8506-9D5D58F1364E}" destId="{A770E62A-8213-4480-8625-971B6844B3EA}" srcOrd="1" destOrd="0" presId="urn:microsoft.com/office/officeart/2005/8/layout/pyramid1"/>
    <dgm:cxn modelId="{7214F4AE-ED2E-4217-8EDB-677058BF5D9A}" type="presOf" srcId="{D10AA20B-3772-4081-A4EF-A8C2331E7706}" destId="{DC80D8D1-50C5-42B2-BFE0-17FDA45E5718}" srcOrd="0" destOrd="0" presId="urn:microsoft.com/office/officeart/2005/8/layout/pyramid1"/>
    <dgm:cxn modelId="{50023EB4-9E8D-42C3-BA97-B0545041C0AA}" srcId="{956EC2BC-0969-436B-9406-70031A76771B}" destId="{79C3586E-B292-470B-9719-A7AA57CA7FFA}" srcOrd="1" destOrd="0" parTransId="{384A36CC-D9EF-4C01-999E-6E2CA212D016}" sibTransId="{8A00BDAE-F6EF-4E6B-A57C-4853FB3AE4D8}"/>
    <dgm:cxn modelId="{F4EFEFB6-30D4-437F-8979-9AEF96109396}" type="presOf" srcId="{C22EE991-41D7-4AD8-8506-9D5D58F1364E}" destId="{770396E2-0206-49E9-8088-D2721F49AD16}" srcOrd="0" destOrd="0" presId="urn:microsoft.com/office/officeart/2005/8/layout/pyramid1"/>
    <dgm:cxn modelId="{FCD154C8-F517-46FD-B174-21F8D2FDD5AB}" srcId="{956EC2BC-0969-436B-9406-70031A76771B}" destId="{C22EE991-41D7-4AD8-8506-9D5D58F1364E}" srcOrd="2" destOrd="0" parTransId="{B1750C10-0550-405B-B207-4E2D1B196907}" sibTransId="{F8919FE6-6CCA-4C21-ACA3-90D9098D029F}"/>
    <dgm:cxn modelId="{5F194BE8-DB17-48EC-8920-06AEAE3EBEDC}" type="presOf" srcId="{79C3586E-B292-470B-9719-A7AA57CA7FFA}" destId="{09186D2B-F8EC-4742-96F2-2133115A4833}" srcOrd="1" destOrd="0" presId="urn:microsoft.com/office/officeart/2005/8/layout/pyramid1"/>
    <dgm:cxn modelId="{0B2834FE-AE16-4888-A34B-C99220A217E8}" srcId="{956EC2BC-0969-436B-9406-70031A76771B}" destId="{D10AA20B-3772-4081-A4EF-A8C2331E7706}" srcOrd="0" destOrd="0" parTransId="{AB612E10-7165-4404-8BED-306B0A81BC00}" sibTransId="{B8C519C9-87CB-48D9-93FA-7DA321FBD717}"/>
    <dgm:cxn modelId="{88700EF6-3D9C-4B03-8AFA-476756F904B0}" type="presParOf" srcId="{53069E38-ADDA-47CB-954F-706563C402AA}" destId="{28E32AEA-614A-40FD-AC42-B28CEFD885FA}" srcOrd="0" destOrd="0" presId="urn:microsoft.com/office/officeart/2005/8/layout/pyramid1"/>
    <dgm:cxn modelId="{C9F29F46-0B0D-484D-85EF-01FD887FDC46}" type="presParOf" srcId="{28E32AEA-614A-40FD-AC42-B28CEFD885FA}" destId="{DC80D8D1-50C5-42B2-BFE0-17FDA45E5718}" srcOrd="0" destOrd="0" presId="urn:microsoft.com/office/officeart/2005/8/layout/pyramid1"/>
    <dgm:cxn modelId="{4B1E3CDB-FB6F-4AF1-A481-687AD7B70055}" type="presParOf" srcId="{28E32AEA-614A-40FD-AC42-B28CEFD885FA}" destId="{966536BF-56B5-4BE7-9492-20CB2DABDD55}" srcOrd="1" destOrd="0" presId="urn:microsoft.com/office/officeart/2005/8/layout/pyramid1"/>
    <dgm:cxn modelId="{BEE7755B-F8CF-46D4-94B8-2A46CCA7A123}" type="presParOf" srcId="{53069E38-ADDA-47CB-954F-706563C402AA}" destId="{2301B333-0EA7-4396-AE69-0185ACD24DBE}" srcOrd="1" destOrd="0" presId="urn:microsoft.com/office/officeart/2005/8/layout/pyramid1"/>
    <dgm:cxn modelId="{8AC9769D-6853-402F-B9CC-78E2E772B14B}" type="presParOf" srcId="{2301B333-0EA7-4396-AE69-0185ACD24DBE}" destId="{27D8CC32-91B0-4BA9-9DCF-90068A76D219}" srcOrd="0" destOrd="0" presId="urn:microsoft.com/office/officeart/2005/8/layout/pyramid1"/>
    <dgm:cxn modelId="{18FC121E-3695-4EAC-B54C-032039C035CD}" type="presParOf" srcId="{2301B333-0EA7-4396-AE69-0185ACD24DBE}" destId="{09186D2B-F8EC-4742-96F2-2133115A4833}" srcOrd="1" destOrd="0" presId="urn:microsoft.com/office/officeart/2005/8/layout/pyramid1"/>
    <dgm:cxn modelId="{50443565-6710-4F82-B8E9-2108A95E797F}" type="presParOf" srcId="{53069E38-ADDA-47CB-954F-706563C402AA}" destId="{4503058E-0B17-4094-AC87-DCADF649D5CE}" srcOrd="2" destOrd="0" presId="urn:microsoft.com/office/officeart/2005/8/layout/pyramid1"/>
    <dgm:cxn modelId="{71330DD0-E5AA-4A5F-98E0-872A82165C75}" type="presParOf" srcId="{4503058E-0B17-4094-AC87-DCADF649D5CE}" destId="{770396E2-0206-49E9-8088-D2721F49AD16}" srcOrd="0" destOrd="0" presId="urn:microsoft.com/office/officeart/2005/8/layout/pyramid1"/>
    <dgm:cxn modelId="{53A10A2D-A9CE-4E04-AABD-1A424BFCA7AA}" type="presParOf" srcId="{4503058E-0B17-4094-AC87-DCADF649D5CE}" destId="{A770E62A-8213-4480-8625-971B6844B3EA}"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Group 1"/>
      <dsp:cNvGrpSpPr/>
    </dsp:nvGrpSpPr>
    <dsp:grpSpPr>
      <a:xfrm>
        <a:off x="0" y="0"/>
        <a:ext cx="8517653" cy="7187781"/>
        <a:chOff x="0" y="0"/>
        <a:chExt cx="8517653" cy="7187781"/>
      </a:xfrm>
    </dsp:grpSpPr>
    <dsp:sp modelId="{DC80D8D1-50C5-42B2-BFE0-17FDA45E5718}">
      <dsp:nvSpPr>
        <dsp:cNvPr id="3" name="Trapezoid 2"/>
        <dsp:cNvSpPr/>
      </dsp:nvSpPr>
      <dsp:spPr bwMode="white">
        <a:xfrm>
          <a:off x="2839218" y="0"/>
          <a:ext cx="2839218" cy="2395927"/>
        </a:xfrm>
        <a:prstGeom prst="trapezoid">
          <a:avLst>
            <a:gd name="adj" fmla="val 59250"/>
          </a:avLst>
        </a:prstGeom>
        <a:sp3d prstMaterial="translucentPowder">
          <a:bevelT w="127000" h="25400" prst="softRound"/>
        </a:sp3d>
      </dsp:spPr>
      <dsp:style>
        <a:lnRef idx="0">
          <a:schemeClr val="lt1"/>
        </a:lnRef>
        <a:fillRef idx="1">
          <a:schemeClr val="accent4">
            <a:hueOff val="0"/>
            <a:satOff val="0"/>
            <a:lumOff val="0"/>
            <a:alpha val="100000"/>
          </a:schemeClr>
        </a:fillRef>
        <a:effectRef idx="0">
          <a:scrgbClr r="0" g="0" b="0"/>
        </a:effectRef>
        <a:fontRef idx="minor">
          <a:schemeClr val="lt1"/>
        </a:fontRef>
      </dsp:style>
      <dsp:txBody>
        <a:bodyPr lIns="82550" tIns="82550" rIns="82550" bIns="8255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US" dirty="0">
              <a:solidFill>
                <a:schemeClr val="tx1"/>
              </a:solidFill>
            </a:rPr>
            <a:t>?</a:t>
          </a:r>
          <a:endParaRPr>
            <a:solidFill>
              <a:schemeClr val="tx1"/>
            </a:solidFill>
          </a:endParaRPr>
        </a:p>
      </dsp:txBody>
      <dsp:txXfrm>
        <a:off x="2839218" y="0"/>
        <a:ext cx="2839218" cy="2395927"/>
      </dsp:txXfrm>
    </dsp:sp>
    <dsp:sp modelId="{27D8CC32-91B0-4BA9-9DCF-90068A76D219}">
      <dsp:nvSpPr>
        <dsp:cNvPr id="4" name="Trapezoid 3"/>
        <dsp:cNvSpPr/>
      </dsp:nvSpPr>
      <dsp:spPr bwMode="white">
        <a:xfrm>
          <a:off x="1419609" y="2395927"/>
          <a:ext cx="5678435" cy="2395927"/>
        </a:xfrm>
        <a:prstGeom prst="trapezoid">
          <a:avLst>
            <a:gd name="adj" fmla="val 59250"/>
          </a:avLst>
        </a:prstGeom>
        <a:sp3d prstMaterial="translucentPowder">
          <a:bevelT w="127000" h="25400" prst="softRound"/>
        </a:sp3d>
      </dsp:spPr>
      <dsp:style>
        <a:lnRef idx="0">
          <a:schemeClr val="lt1"/>
        </a:lnRef>
        <a:fillRef idx="1">
          <a:schemeClr val="accent4">
            <a:hueOff val="-2250000"/>
            <a:satOff val="13333"/>
            <a:lumOff val="1176"/>
            <a:alpha val="100000"/>
          </a:schemeClr>
        </a:fillRef>
        <a:effectRef idx="0">
          <a:scrgbClr r="0" g="0" b="0"/>
        </a:effectRef>
        <a:fontRef idx="minor">
          <a:schemeClr val="lt1"/>
        </a:fontRef>
      </dsp:style>
      <dsp:txBody>
        <a:bodyPr lIns="82550" tIns="82550" rIns="82550" bIns="8255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US" dirty="0">
              <a:solidFill>
                <a:schemeClr val="tx1"/>
              </a:solidFill>
            </a:rPr>
            <a:t>?</a:t>
          </a:r>
          <a:endParaRPr>
            <a:solidFill>
              <a:schemeClr val="tx1"/>
            </a:solidFill>
          </a:endParaRPr>
        </a:p>
      </dsp:txBody>
      <dsp:txXfrm>
        <a:off x="1419609" y="2395927"/>
        <a:ext cx="5678435" cy="2395927"/>
      </dsp:txXfrm>
    </dsp:sp>
    <dsp:sp modelId="{770396E2-0206-49E9-8088-D2721F49AD16}">
      <dsp:nvSpPr>
        <dsp:cNvPr id="5" name="Trapezoid 4"/>
        <dsp:cNvSpPr/>
      </dsp:nvSpPr>
      <dsp:spPr bwMode="white">
        <a:xfrm>
          <a:off x="0" y="4791854"/>
          <a:ext cx="8517653" cy="2395927"/>
        </a:xfrm>
        <a:prstGeom prst="trapezoid">
          <a:avLst>
            <a:gd name="adj" fmla="val 59250"/>
          </a:avLst>
        </a:prstGeom>
        <a:sp3d prstMaterial="translucentPowder">
          <a:bevelT w="127000" h="25400" prst="softRound"/>
        </a:sp3d>
      </dsp:spPr>
      <dsp:style>
        <a:lnRef idx="0">
          <a:schemeClr val="lt1"/>
        </a:lnRef>
        <a:fillRef idx="1">
          <a:schemeClr val="accent4">
            <a:hueOff val="-4500000"/>
            <a:satOff val="26667"/>
            <a:lumOff val="2353"/>
            <a:alpha val="100000"/>
          </a:schemeClr>
        </a:fillRef>
        <a:effectRef idx="0">
          <a:scrgbClr r="0" g="0" b="0"/>
        </a:effectRef>
        <a:fontRef idx="minor">
          <a:schemeClr val="lt1"/>
        </a:fontRef>
      </dsp:style>
      <dsp:txBody>
        <a:bodyPr lIns="82550" tIns="82550" rIns="82550" bIns="8255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US" dirty="0">
              <a:solidFill>
                <a:schemeClr val="tx1"/>
              </a:solidFill>
            </a:rPr>
            <a:t>?</a:t>
          </a:r>
          <a:endParaRPr>
            <a:solidFill>
              <a:schemeClr val="tx1"/>
            </a:solidFill>
          </a:endParaRPr>
        </a:p>
      </dsp:txBody>
      <dsp:txXfrm>
        <a:off x="0" y="4791854"/>
        <a:ext cx="8517653" cy="2395927"/>
      </dsp:txXfrm>
    </dsp:sp>
  </dsp:spTree>
</dsp:drawing>
</file>

<file path=ppt/diagrams/drawing2.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Group 1"/>
      <dsp:cNvGrpSpPr/>
    </dsp:nvGrpSpPr>
    <dsp:grpSpPr>
      <a:xfrm>
        <a:off x="0" y="0"/>
        <a:ext cx="8517653" cy="7187781"/>
        <a:chOff x="0" y="0"/>
        <a:chExt cx="8517653" cy="7187781"/>
      </a:xfrm>
    </dsp:grpSpPr>
    <dsp:sp modelId="{DC80D8D1-50C5-42B2-BFE0-17FDA45E5718}">
      <dsp:nvSpPr>
        <dsp:cNvPr id="3" name="Trapezoid 2"/>
        <dsp:cNvSpPr/>
      </dsp:nvSpPr>
      <dsp:spPr bwMode="white">
        <a:xfrm>
          <a:off x="2839218" y="0"/>
          <a:ext cx="2839218" cy="2395927"/>
        </a:xfrm>
        <a:prstGeom prst="trapezoid">
          <a:avLst>
            <a:gd name="adj" fmla="val 59250"/>
          </a:avLst>
        </a:prstGeom>
        <a:sp3d prstMaterial="translucentPowder">
          <a:bevelT w="127000" h="25400" prst="softRound"/>
        </a:sp3d>
      </dsp:spPr>
      <dsp:style>
        <a:lnRef idx="0">
          <a:schemeClr val="lt1"/>
        </a:lnRef>
        <a:fillRef idx="1">
          <a:schemeClr val="accent4">
            <a:hueOff val="0"/>
            <a:satOff val="0"/>
            <a:lumOff val="0"/>
            <a:alpha val="100000"/>
          </a:schemeClr>
        </a:fillRef>
        <a:effectRef idx="0">
          <a:scrgbClr r="0" g="0" b="0"/>
        </a:effectRef>
        <a:fontRef idx="minor">
          <a:schemeClr val="lt1"/>
        </a:fontRef>
      </dsp:style>
      <dsp:txBody>
        <a:bodyPr lIns="33020" tIns="33020" rIns="33020" bIns="3302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US" sz="2600" dirty="0" err="1">
              <a:solidFill>
                <a:schemeClr val="tx1"/>
              </a:solidFill>
            </a:rPr>
            <a:t>Hùng</a:t>
          </a:r>
          <a:r>
            <a:rPr lang="en-US" sz="2600" dirty="0">
              <a:solidFill>
                <a:schemeClr val="tx1"/>
              </a:solidFill>
            </a:rPr>
            <a:t> </a:t>
          </a:r>
          <a:endParaRPr lang="en-US" sz="2600" dirty="0">
            <a:solidFill>
              <a:schemeClr val="tx1"/>
            </a:solidFill>
          </a:endParaRPr>
        </a:p>
        <a:p>
          <a:pPr lvl="0">
            <a:lnSpc>
              <a:spcPct val="100000"/>
            </a:lnSpc>
            <a:spcBef>
              <a:spcPct val="0"/>
            </a:spcBef>
            <a:spcAft>
              <a:spcPct val="35000"/>
            </a:spcAft>
          </a:pPr>
          <a:r>
            <a:rPr lang="en-US" sz="2600" dirty="0" err="1">
              <a:solidFill>
                <a:schemeClr val="tx1"/>
              </a:solidFill>
            </a:rPr>
            <a:t>Vương</a:t>
          </a:r>
          <a:endParaRPr lang="en-US" sz="2600" dirty="0">
            <a:solidFill>
              <a:schemeClr val="tx1"/>
            </a:solidFill>
          </a:endParaRPr>
        </a:p>
      </dsp:txBody>
      <dsp:txXfrm>
        <a:off x="2839218" y="0"/>
        <a:ext cx="2839218" cy="2395927"/>
      </dsp:txXfrm>
    </dsp:sp>
    <dsp:sp modelId="{27D8CC32-91B0-4BA9-9DCF-90068A76D219}">
      <dsp:nvSpPr>
        <dsp:cNvPr id="4" name="Trapezoid 3"/>
        <dsp:cNvSpPr/>
      </dsp:nvSpPr>
      <dsp:spPr bwMode="white">
        <a:xfrm>
          <a:off x="1419609" y="2395927"/>
          <a:ext cx="5678435" cy="2395927"/>
        </a:xfrm>
        <a:prstGeom prst="trapezoid">
          <a:avLst>
            <a:gd name="adj" fmla="val 59250"/>
          </a:avLst>
        </a:prstGeom>
        <a:sp3d prstMaterial="translucentPowder">
          <a:bevelT w="127000" h="25400" prst="softRound"/>
        </a:sp3d>
      </dsp:spPr>
      <dsp:style>
        <a:lnRef idx="0">
          <a:schemeClr val="lt1"/>
        </a:lnRef>
        <a:fillRef idx="1">
          <a:schemeClr val="accent4">
            <a:hueOff val="-2250000"/>
            <a:satOff val="13333"/>
            <a:lumOff val="1176"/>
            <a:alpha val="100000"/>
          </a:schemeClr>
        </a:fillRef>
        <a:effectRef idx="0">
          <a:scrgbClr r="0" g="0" b="0"/>
        </a:effectRef>
        <a:fontRef idx="minor">
          <a:schemeClr val="lt1"/>
        </a:fontRef>
      </dsp:style>
      <dsp:txBody>
        <a:bodyPr lIns="31750" tIns="31750" rIns="31750" bIns="3175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US" sz="2500" dirty="0" err="1">
              <a:solidFill>
                <a:schemeClr val="tx1"/>
              </a:solidFill>
            </a:rPr>
            <a:t>Lạc</a:t>
          </a:r>
          <a:r>
            <a:rPr lang="en-US" sz="2500" dirty="0">
              <a:solidFill>
                <a:schemeClr val="tx1"/>
              </a:solidFill>
            </a:rPr>
            <a:t> </a:t>
          </a:r>
          <a:r>
            <a:rPr lang="en-US" sz="2500" dirty="0" err="1">
              <a:solidFill>
                <a:schemeClr val="tx1"/>
              </a:solidFill>
            </a:rPr>
            <a:t>hầu</a:t>
          </a:r>
          <a:r>
            <a:rPr lang="en-US" sz="2500" dirty="0">
              <a:solidFill>
                <a:schemeClr val="tx1"/>
              </a:solidFill>
            </a:rPr>
            <a:t> – </a:t>
          </a:r>
          <a:r>
            <a:rPr lang="en-US" sz="2500" dirty="0" err="1">
              <a:solidFill>
                <a:schemeClr val="tx1"/>
              </a:solidFill>
            </a:rPr>
            <a:t>Lạc</a:t>
          </a:r>
          <a:r>
            <a:rPr lang="en-US" sz="2500" dirty="0">
              <a:solidFill>
                <a:schemeClr val="tx1"/>
              </a:solidFill>
            </a:rPr>
            <a:t> </a:t>
          </a:r>
          <a:r>
            <a:rPr lang="en-US" sz="2500" dirty="0" err="1">
              <a:solidFill>
                <a:schemeClr val="tx1"/>
              </a:solidFill>
            </a:rPr>
            <a:t>tướng</a:t>
          </a:r>
          <a:endParaRPr lang="en-US" sz="2500" dirty="0">
            <a:solidFill>
              <a:schemeClr val="tx1"/>
            </a:solidFill>
          </a:endParaRPr>
        </a:p>
        <a:p>
          <a:pPr lvl="0">
            <a:lnSpc>
              <a:spcPct val="100000"/>
            </a:lnSpc>
            <a:spcBef>
              <a:spcPct val="0"/>
            </a:spcBef>
            <a:spcAft>
              <a:spcPct val="35000"/>
            </a:spcAft>
          </a:pPr>
          <a:r>
            <a:rPr lang="en-US" sz="2500" dirty="0" err="1">
              <a:solidFill>
                <a:schemeClr val="tx1"/>
              </a:solidFill>
            </a:rPr>
            <a:t>Đứng</a:t>
          </a:r>
          <a:r>
            <a:rPr lang="en-US" sz="2500" dirty="0">
              <a:solidFill>
                <a:schemeClr val="tx1"/>
              </a:solidFill>
            </a:rPr>
            <a:t> </a:t>
          </a:r>
          <a:r>
            <a:rPr lang="en-US" sz="2500" dirty="0" err="1">
              <a:solidFill>
                <a:schemeClr val="tx1"/>
              </a:solidFill>
            </a:rPr>
            <a:t>đầu</a:t>
          </a:r>
          <a:r>
            <a:rPr lang="en-US" sz="2500" dirty="0">
              <a:solidFill>
                <a:schemeClr val="tx1"/>
              </a:solidFill>
            </a:rPr>
            <a:t> </a:t>
          </a:r>
          <a:r>
            <a:rPr lang="en-US" sz="2500" dirty="0" err="1">
              <a:solidFill>
                <a:schemeClr val="tx1"/>
              </a:solidFill>
            </a:rPr>
            <a:t>các</a:t>
          </a:r>
          <a:r>
            <a:rPr lang="en-US" sz="2500" dirty="0">
              <a:solidFill>
                <a:schemeClr val="tx1"/>
              </a:solidFill>
            </a:rPr>
            <a:t> </a:t>
          </a:r>
          <a:r>
            <a:rPr lang="en-US" sz="2500" dirty="0" err="1">
              <a:solidFill>
                <a:schemeClr val="tx1"/>
              </a:solidFill>
            </a:rPr>
            <a:t>bộ</a:t>
          </a:r>
          <a:endParaRPr lang="en-US" sz="2500" dirty="0">
            <a:solidFill>
              <a:schemeClr val="tx1"/>
            </a:solidFill>
          </a:endParaRPr>
        </a:p>
      </dsp:txBody>
      <dsp:txXfrm>
        <a:off x="1419609" y="2395927"/>
        <a:ext cx="5678435" cy="2395927"/>
      </dsp:txXfrm>
    </dsp:sp>
    <dsp:sp modelId="{770396E2-0206-49E9-8088-D2721F49AD16}">
      <dsp:nvSpPr>
        <dsp:cNvPr id="5" name="Trapezoid 4"/>
        <dsp:cNvSpPr/>
      </dsp:nvSpPr>
      <dsp:spPr bwMode="white">
        <a:xfrm>
          <a:off x="0" y="4791854"/>
          <a:ext cx="8517653" cy="2395927"/>
        </a:xfrm>
        <a:prstGeom prst="trapezoid">
          <a:avLst>
            <a:gd name="adj" fmla="val 59250"/>
          </a:avLst>
        </a:prstGeom>
        <a:sp3d prstMaterial="translucentPowder">
          <a:bevelT w="127000" h="25400" prst="softRound"/>
        </a:sp3d>
      </dsp:spPr>
      <dsp:style>
        <a:lnRef idx="0">
          <a:schemeClr val="lt1"/>
        </a:lnRef>
        <a:fillRef idx="1">
          <a:schemeClr val="accent4">
            <a:hueOff val="-4500000"/>
            <a:satOff val="26667"/>
            <a:lumOff val="2353"/>
            <a:alpha val="100000"/>
          </a:schemeClr>
        </a:fillRef>
        <a:effectRef idx="0">
          <a:scrgbClr r="0" g="0" b="0"/>
        </a:effectRef>
        <a:fontRef idx="minor">
          <a:schemeClr val="lt1"/>
        </a:fontRef>
      </dsp:style>
      <dsp:txBody>
        <a:bodyPr lIns="33020" tIns="33020" rIns="33020" bIns="3302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US" sz="2600" dirty="0" err="1">
              <a:solidFill>
                <a:schemeClr val="tx1"/>
              </a:solidFill>
            </a:rPr>
            <a:t>Bồ</a:t>
          </a:r>
          <a:r>
            <a:rPr lang="en-US" sz="2600" dirty="0">
              <a:solidFill>
                <a:schemeClr val="tx1"/>
              </a:solidFill>
            </a:rPr>
            <a:t> </a:t>
          </a:r>
          <a:r>
            <a:rPr lang="en-US" sz="2600" dirty="0" err="1">
              <a:solidFill>
                <a:schemeClr val="tx1"/>
              </a:solidFill>
            </a:rPr>
            <a:t>chính</a:t>
          </a:r>
          <a:r>
            <a:rPr lang="en-US" sz="2600" dirty="0">
              <a:solidFill>
                <a:schemeClr val="tx1"/>
              </a:solidFill>
            </a:rPr>
            <a:t> </a:t>
          </a:r>
          <a:endParaRPr lang="en-US" sz="2600" dirty="0">
            <a:solidFill>
              <a:schemeClr val="tx1"/>
            </a:solidFill>
          </a:endParaRPr>
        </a:p>
        <a:p>
          <a:pPr lvl="0">
            <a:lnSpc>
              <a:spcPct val="100000"/>
            </a:lnSpc>
            <a:spcBef>
              <a:spcPct val="0"/>
            </a:spcBef>
            <a:spcAft>
              <a:spcPct val="35000"/>
            </a:spcAft>
          </a:pPr>
          <a:r>
            <a:rPr lang="en-US" sz="2600" dirty="0">
              <a:solidFill>
                <a:schemeClr val="tx1"/>
              </a:solidFill>
            </a:rPr>
            <a:t>(</a:t>
          </a:r>
          <a:r>
            <a:rPr lang="en-US" sz="2600" dirty="0" err="1">
              <a:solidFill>
                <a:schemeClr val="tx1"/>
              </a:solidFill>
            </a:rPr>
            <a:t>đứng</a:t>
          </a:r>
          <a:r>
            <a:rPr lang="en-US" sz="2600" dirty="0">
              <a:solidFill>
                <a:schemeClr val="tx1"/>
              </a:solidFill>
            </a:rPr>
            <a:t> </a:t>
          </a:r>
          <a:r>
            <a:rPr lang="en-US" sz="2600" dirty="0" err="1">
              <a:solidFill>
                <a:schemeClr val="tx1"/>
              </a:solidFill>
            </a:rPr>
            <a:t>đầu</a:t>
          </a:r>
          <a:r>
            <a:rPr lang="en-US" sz="2600" dirty="0">
              <a:solidFill>
                <a:schemeClr val="tx1"/>
              </a:solidFill>
            </a:rPr>
            <a:t> </a:t>
          </a:r>
          <a:r>
            <a:rPr lang="en-US" sz="2600" dirty="0" err="1">
              <a:solidFill>
                <a:schemeClr val="tx1"/>
              </a:solidFill>
            </a:rPr>
            <a:t>chiềng</a:t>
          </a:r>
          <a:r>
            <a:rPr lang="en-US" sz="2600" dirty="0">
              <a:solidFill>
                <a:schemeClr val="tx1"/>
              </a:solidFill>
            </a:rPr>
            <a:t>, </a:t>
          </a:r>
          <a:r>
            <a:rPr lang="en-US" sz="2600" dirty="0" err="1">
              <a:solidFill>
                <a:schemeClr val="tx1"/>
              </a:solidFill>
            </a:rPr>
            <a:t>chạ</a:t>
          </a:r>
          <a:r>
            <a:rPr lang="en-US" sz="2600" dirty="0">
              <a:solidFill>
                <a:schemeClr val="tx1"/>
              </a:solidFill>
            </a:rPr>
            <a:t>)</a:t>
          </a:r>
          <a:endParaRPr>
            <a:solidFill>
              <a:schemeClr val="tx1"/>
            </a:solidFill>
          </a:endParaRPr>
        </a:p>
      </dsp:txBody>
      <dsp:txXfrm>
        <a:off x="0" y="4791854"/>
        <a:ext cx="8517653" cy="2395927"/>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pyraLvlNode" val="level"/>
          <dgm:param type="pyraAcctTxNode" val="acctTx"/>
          <dgm:param type="pyraAcctBkgdNode" val="acctBkgd"/>
          <dgm:param type="linDir" val="fromB"/>
          <dgm:param type="txDir" val="fromT"/>
          <dgm:param type="pyraAcctPos" val="aft"/>
          <dgm:param type="pyraAcctTxMar" val="step"/>
        </dgm:alg>
      </dgm:if>
      <dgm:else name="Name3">
        <dgm:alg type="pyra">
          <dgm:param type="pyraLvlNode" val="level"/>
          <dgm:param type="pyraAcctTxNode" val="acctTx"/>
          <dgm:param type="pyraAcctBkgdNode" val="acctBkgd"/>
          <dgm:param type="linDir" val="fromB"/>
          <dgm:param type="txDir" val="fromT"/>
          <dgm:param type="pyraAcctPos" val="bef"/>
          <dgm:param type="pyraAcctTxMar" val="step"/>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pyraLvlNode" val="level"/>
          <dgm:param type="pyraAcctTxNode" val="acctTx"/>
          <dgm:param type="pyraAcctBkgdNode" val="acctBkgd"/>
          <dgm:param type="linDir" val="fromB"/>
          <dgm:param type="txDir" val="fromT"/>
          <dgm:param type="pyraAcctPos" val="aft"/>
          <dgm:param type="pyraAcctTxMar" val="step"/>
        </dgm:alg>
      </dgm:if>
      <dgm:else name="Name3">
        <dgm:alg type="pyra">
          <dgm:param type="pyraLvlNode" val="level"/>
          <dgm:param type="pyraAcctTxNode" val="acctTx"/>
          <dgm:param type="pyraAcctBkgdNode" val="acctBkgd"/>
          <dgm:param type="linDir" val="fromB"/>
          <dgm:param type="txDir" val="fromT"/>
          <dgm:param type="pyraAcctPos" val="bef"/>
          <dgm:param type="pyraAcctTxMar" val="step"/>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90D02D-2EE0-458D-8413-E84FD22AFB19}" type="datetimeFigureOut">
              <a:rPr lang="en-US" smtClean="0"/>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51E689-2D4B-4CF3-97FD-2EA79755B0A9}" type="slidenum">
              <a:rPr lang="en-US" smtClean="0"/>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351E689-2D4B-4CF3-97FD-2EA79755B0A9}" type="slidenum">
              <a:rPr lang="en-US" smtClean="0"/>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en-US" dirty="0"/>
          </a:p>
          <a:p>
            <a:endParaRPr lang="en-US" dirty="0"/>
          </a:p>
        </p:txBody>
      </p:sp>
      <p:sp>
        <p:nvSpPr>
          <p:cNvPr id="4" name="Slide Number Placeholder 3"/>
          <p:cNvSpPr>
            <a:spLocks noGrp="1"/>
          </p:cNvSpPr>
          <p:nvPr>
            <p:ph type="sldNum" sz="quarter" idx="5"/>
          </p:nvPr>
        </p:nvSpPr>
        <p:spPr/>
        <p:txBody>
          <a:bodyPr/>
          <a:lstStyle/>
          <a:p>
            <a:fld id="{466E2646-B88A-4B2E-B016-242E99FC23D7}" type="slidenum">
              <a:rPr lang="en-US" smtClean="0"/>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Slide Image Placeholder 1"/>
          <p:cNvSpPr>
            <a:spLocks noGrp="1"/>
          </p:cNvSpPr>
          <p:nvPr>
            <p:ph type="sldImg" idx="2"/>
          </p:nvPr>
        </p:nvSpPr>
        <p:spPr/>
      </p:sp>
      <p:sp>
        <p:nvSpPr>
          <p:cNvPr id="3" name="Text Placeholder 2"/>
          <p:cNvSpPr>
            <a:spLocks noGrp="1"/>
          </p:cNvSpPr>
          <p:nvPr>
            <p:ph type="body" idx="3"/>
          </p:nvPr>
        </p:nvSpPr>
        <p:spPr/>
        <p:txBody>
          <a:bodyPr/>
          <a:p>
            <a:r>
              <a:rPr lang="en-GB" dirty="0" err="1">
                <a:solidFill>
                  <a:srgbClr val="1C1C1C"/>
                </a:solidFill>
                <a:latin typeface="Times New Roman" panose="02020603050405020304" pitchFamily="18" charset="0"/>
                <a:cs typeface="Times New Roman" panose="02020603050405020304" pitchFamily="18" charset="0"/>
                <a:sym typeface="+mn-ea"/>
              </a:rPr>
              <a:t>Các</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bạn</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rất</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giỏi</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về</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việc</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xác</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định</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các</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truyền</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thuyết</a:t>
            </a:r>
            <a:r>
              <a:rPr lang="en-GB" dirty="0">
                <a:solidFill>
                  <a:srgbClr val="1C1C1C"/>
                </a:solidFill>
                <a:latin typeface="Times New Roman" panose="02020603050405020304" pitchFamily="18" charset="0"/>
                <a:cs typeface="Times New Roman" panose="02020603050405020304" pitchFamily="18" charset="0"/>
                <a:sym typeface="+mn-ea"/>
              </a:rPr>
              <a:t>.</a:t>
            </a:r>
            <a:endParaRPr lang="en-GB" dirty="0">
              <a:solidFill>
                <a:srgbClr val="1C1C1C"/>
              </a:solidFill>
              <a:latin typeface="Times New Roman" panose="02020603050405020304" pitchFamily="18" charset="0"/>
              <a:cs typeface="Times New Roman" panose="02020603050405020304" pitchFamily="18" charset="0"/>
            </a:endParaRPr>
          </a:p>
          <a:p>
            <a:r>
              <a:rPr lang="en-GB" dirty="0" err="1">
                <a:solidFill>
                  <a:srgbClr val="1C1C1C"/>
                </a:solidFill>
                <a:latin typeface="Times New Roman" panose="02020603050405020304" pitchFamily="18" charset="0"/>
                <a:cs typeface="Times New Roman" panose="02020603050405020304" pitchFamily="18" charset="0"/>
                <a:sym typeface="+mn-ea"/>
              </a:rPr>
              <a:t>Vén</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bức</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màn</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truyền</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thuyết</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hôm</a:t>
            </a:r>
            <a:r>
              <a:rPr lang="en-GB" dirty="0">
                <a:solidFill>
                  <a:srgbClr val="1C1C1C"/>
                </a:solidFill>
                <a:latin typeface="Times New Roman" panose="02020603050405020304" pitchFamily="18" charset="0"/>
                <a:cs typeface="Times New Roman" panose="02020603050405020304" pitchFamily="18" charset="0"/>
                <a:sym typeface="+mn-ea"/>
              </a:rPr>
              <a:t> nay </a:t>
            </a:r>
            <a:r>
              <a:rPr lang="en-GB" dirty="0" err="1">
                <a:solidFill>
                  <a:srgbClr val="1C1C1C"/>
                </a:solidFill>
                <a:latin typeface="Times New Roman" panose="02020603050405020304" pitchFamily="18" charset="0"/>
                <a:cs typeface="Times New Roman" panose="02020603050405020304" pitchFamily="18" charset="0"/>
                <a:sym typeface="+mn-ea"/>
              </a:rPr>
              <a:t>chúng</a:t>
            </a:r>
            <a:r>
              <a:rPr lang="en-GB" dirty="0">
                <a:solidFill>
                  <a:srgbClr val="1C1C1C"/>
                </a:solidFill>
                <a:latin typeface="Times New Roman" panose="02020603050405020304" pitchFamily="18" charset="0"/>
                <a:cs typeface="Times New Roman" panose="02020603050405020304" pitchFamily="18" charset="0"/>
                <a:sym typeface="+mn-ea"/>
              </a:rPr>
              <a:t> ta </a:t>
            </a:r>
            <a:r>
              <a:rPr lang="en-GB" dirty="0" err="1">
                <a:solidFill>
                  <a:srgbClr val="1C1C1C"/>
                </a:solidFill>
                <a:latin typeface="Times New Roman" panose="02020603050405020304" pitchFamily="18" charset="0"/>
                <a:cs typeface="Times New Roman" panose="02020603050405020304" pitchFamily="18" charset="0"/>
                <a:sym typeface="+mn-ea"/>
              </a:rPr>
              <a:t>cũng</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tìm</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hiểu</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về</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thời</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kì</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dựng</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nước</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đầu</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tiên</a:t>
            </a:r>
            <a:r>
              <a:rPr lang="en-GB" dirty="0">
                <a:solidFill>
                  <a:srgbClr val="1C1C1C"/>
                </a:solidFill>
                <a:latin typeface="Times New Roman" panose="02020603050405020304" pitchFamily="18" charset="0"/>
                <a:cs typeface="Times New Roman" panose="02020603050405020304" pitchFamily="18" charset="0"/>
                <a:sym typeface="+mn-ea"/>
              </a:rPr>
              <a:t> </a:t>
            </a:r>
            <a:r>
              <a:rPr lang="en-GB" dirty="0" err="1">
                <a:solidFill>
                  <a:srgbClr val="1C1C1C"/>
                </a:solidFill>
                <a:latin typeface="Times New Roman" panose="02020603050405020304" pitchFamily="18" charset="0"/>
                <a:cs typeface="Times New Roman" panose="02020603050405020304" pitchFamily="18" charset="0"/>
                <a:sym typeface="+mn-ea"/>
              </a:rPr>
              <a:t>của</a:t>
            </a:r>
            <a:r>
              <a:rPr lang="en-GB" dirty="0">
                <a:solidFill>
                  <a:srgbClr val="1C1C1C"/>
                </a:solidFill>
                <a:latin typeface="Times New Roman" panose="02020603050405020304" pitchFamily="18" charset="0"/>
                <a:cs typeface="Times New Roman" panose="02020603050405020304" pitchFamily="18" charset="0"/>
                <a:sym typeface="+mn-ea"/>
              </a:rPr>
              <a:t> cha, </a:t>
            </a:r>
            <a:r>
              <a:rPr lang="en-GB" dirty="0" err="1">
                <a:solidFill>
                  <a:srgbClr val="1C1C1C"/>
                </a:solidFill>
                <a:latin typeface="Times New Roman" panose="02020603050405020304" pitchFamily="18" charset="0"/>
                <a:cs typeface="Times New Roman" panose="02020603050405020304" pitchFamily="18" charset="0"/>
                <a:sym typeface="+mn-ea"/>
              </a:rPr>
              <a:t>ông</a:t>
            </a:r>
            <a:r>
              <a:rPr lang="en-GB" dirty="0">
                <a:solidFill>
                  <a:srgbClr val="1C1C1C"/>
                </a:solidFill>
                <a:latin typeface="Times New Roman" panose="02020603050405020304" pitchFamily="18" charset="0"/>
                <a:cs typeface="Times New Roman" panose="02020603050405020304" pitchFamily="18" charset="0"/>
                <a:sym typeface="+mn-ea"/>
              </a:rPr>
              <a:t> ta.</a:t>
            </a:r>
            <a:endParaRPr lang="en-GB" dirty="0">
              <a:solidFill>
                <a:srgbClr val="1C1C1C"/>
              </a:solidFill>
              <a:latin typeface="Times New Roman" panose="02020603050405020304" pitchFamily="18" charset="0"/>
              <a:cs typeface="Times New Roman" panose="02020603050405020304" pitchFamily="18" charset="0"/>
            </a:endParaRPr>
          </a:p>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351E689-2D4B-4CF3-97FD-2EA79755B0A9}" type="slidenum">
              <a:rPr lang="en-US" smtClean="0"/>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351E689-2D4B-4CF3-97FD-2EA79755B0A9}" type="slidenum">
              <a:rPr lang="en-US" smtClean="0"/>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endParaRPr lang="en-US" smtClean="0"/>
          </a:p>
        </p:txBody>
      </p:sp>
      <p:sp>
        <p:nvSpPr>
          <p:cNvPr id="4" name="Date Placeholder 3"/>
          <p:cNvSpPr>
            <a:spLocks noGrp="1"/>
          </p:cNvSpPr>
          <p:nvPr>
            <p:ph type="dt" sz="half" idx="10"/>
          </p:nvPr>
        </p:nvSpPr>
        <p:spPr/>
        <p:txBody>
          <a:bodyPr/>
          <a:lstStyle/>
          <a:p>
            <a:fld id="{1D8BD707-D9CF-40AE-B4C6-C98DA3205C09}"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5" name="Date Placeholder 4"/>
          <p:cNvSpPr>
            <a:spLocks noGrp="1"/>
          </p:cNvSpPr>
          <p:nvPr>
            <p:ph type="dt" sz="half" idx="10"/>
          </p:nvPr>
        </p:nvSpPr>
        <p:spPr/>
        <p:txBody>
          <a:bodyPr/>
          <a:lstStyle/>
          <a:p>
            <a:fld id="{1D8BD707-D9CF-40AE-B4C6-C98DA3205C09}"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endParaRPr lang="en-US" smtClean="0"/>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endParaRPr lang="en-US" smtClean="0"/>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7" name="Date Placeholder 6"/>
          <p:cNvSpPr>
            <a:spLocks noGrp="1"/>
          </p:cNvSpPr>
          <p:nvPr>
            <p:ph type="dt" sz="half" idx="10"/>
          </p:nvPr>
        </p:nvSpPr>
        <p:spPr/>
        <p:txBody>
          <a:bodyPr/>
          <a:lstStyle/>
          <a:p>
            <a:fld id="{1D8BD707-D9CF-40AE-B4C6-C98DA3205C09}" type="datetimeFigureOut">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D8BD707-D9CF-40AE-B4C6-C98DA3205C09}" type="datetimeFigureOut">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endParaRPr lang="en-US" smtClean="0"/>
          </a:p>
        </p:txBody>
      </p:sp>
      <p:sp>
        <p:nvSpPr>
          <p:cNvPr id="5" name="Date Placeholder 4"/>
          <p:cNvSpPr>
            <a:spLocks noGrp="1"/>
          </p:cNvSpPr>
          <p:nvPr>
            <p:ph type="dt" sz="half" idx="10"/>
          </p:nvPr>
        </p:nvSpPr>
        <p:spPr/>
        <p:txBody>
          <a:bodyPr/>
          <a:lstStyle/>
          <a:p>
            <a:fld id="{1D8BD707-D9CF-40AE-B4C6-C98DA3205C09}"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endParaRPr lang="en-US" smtClean="0"/>
          </a:p>
        </p:txBody>
      </p:sp>
      <p:sp>
        <p:nvSpPr>
          <p:cNvPr id="5" name="Date Placeholder 4"/>
          <p:cNvSpPr>
            <a:spLocks noGrp="1"/>
          </p:cNvSpPr>
          <p:nvPr>
            <p:ph type="dt" sz="half" idx="10"/>
          </p:nvPr>
        </p:nvSpPr>
        <p:spPr/>
        <p:txBody>
          <a:bodyPr/>
          <a:lstStyle/>
          <a:p>
            <a:fld id="{1D8BD707-D9CF-40AE-B4C6-C98DA3205C09}"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7" Type="http://schemas.openxmlformats.org/officeDocument/2006/relationships/slideLayout" Target="../slideLayouts/slideLayout7.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 Id="rId3" Type="http://schemas.openxmlformats.org/officeDocument/2006/relationships/image" Target="../media/image22.png"/><Relationship Id="rId2" Type="http://schemas.openxmlformats.org/officeDocument/2006/relationships/image" Target="../media/image21.svg"/><Relationship Id="rId1" Type="http://schemas.openxmlformats.org/officeDocument/2006/relationships/image" Target="../media/image20.png"/></Relationships>
</file>

<file path=ppt/slides/_rels/slide11.xml.rels><?xml version="1.0" encoding="UTF-8" standalone="yes"?>
<Relationships xmlns="http://schemas.openxmlformats.org/package/2006/relationships"><Relationship Id="rId9" Type="http://schemas.openxmlformats.org/officeDocument/2006/relationships/image" Target="../media/image26.png"/><Relationship Id="rId8" Type="http://schemas.openxmlformats.org/officeDocument/2006/relationships/tags" Target="../tags/tag8.x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3" Type="http://schemas.openxmlformats.org/officeDocument/2006/relationships/tags" Target="../tags/tag3.xml"/><Relationship Id="rId2" Type="http://schemas.openxmlformats.org/officeDocument/2006/relationships/tags" Target="../tags/tag2.xml"/><Relationship Id="rId12" Type="http://schemas.openxmlformats.org/officeDocument/2006/relationships/notesSlide" Target="../notesSlides/notesSlide4.xml"/><Relationship Id="rId11" Type="http://schemas.openxmlformats.org/officeDocument/2006/relationships/slideLayout" Target="../slideLayouts/slideLayout2.xml"/><Relationship Id="rId10" Type="http://schemas.openxmlformats.org/officeDocument/2006/relationships/tags" Target="../tags/tag9.xml"/><Relationship Id="rId1" Type="http://schemas.openxmlformats.org/officeDocument/2006/relationships/tags" Target="../tags/tag1.xml"/></Relationships>
</file>

<file path=ppt/slides/_rels/slide12.xml.rels><?xml version="1.0" encoding="UTF-8" standalone="yes"?>
<Relationships xmlns="http://schemas.openxmlformats.org/package/2006/relationships"><Relationship Id="rId6" Type="http://schemas.openxmlformats.org/officeDocument/2006/relationships/slideLayout" Target="../slideLayouts/slideLayout2.xml"/><Relationship Id="rId5" Type="http://schemas.openxmlformats.org/officeDocument/2006/relationships/image" Target="../media/image28.png"/><Relationship Id="rId4" Type="http://schemas.microsoft.com/office/2007/relationships/media" Target="../media/media1.mp4"/><Relationship Id="rId3" Type="http://schemas.openxmlformats.org/officeDocument/2006/relationships/video" Target="../media/media1.mp4"/><Relationship Id="rId2" Type="http://schemas.openxmlformats.org/officeDocument/2006/relationships/image" Target="../media/image27.png"/><Relationship Id="rId1"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0.png"/><Relationship Id="rId1" Type="http://schemas.openxmlformats.org/officeDocument/2006/relationships/image" Target="../media/image29.jpeg"/></Relationships>
</file>

<file path=ppt/slides/_rels/slide14.xml.rels><?xml version="1.0" encoding="UTF-8" standalone="yes"?>
<Relationships xmlns="http://schemas.openxmlformats.org/package/2006/relationships"><Relationship Id="rId7" Type="http://schemas.openxmlformats.org/officeDocument/2006/relationships/slideLayout" Target="../slideLayouts/slideLayout7.xml"/><Relationship Id="rId6" Type="http://schemas.openxmlformats.org/officeDocument/2006/relationships/image" Target="../media/image19.svg"/><Relationship Id="rId5" Type="http://schemas.openxmlformats.org/officeDocument/2006/relationships/image" Target="../media/image33.png"/><Relationship Id="rId4" Type="http://schemas.openxmlformats.org/officeDocument/2006/relationships/image" Target="../media/image17.svg"/><Relationship Id="rId3" Type="http://schemas.openxmlformats.org/officeDocument/2006/relationships/image" Target="../media/image32.png"/><Relationship Id="rId2" Type="http://schemas.openxmlformats.org/officeDocument/2006/relationships/image" Target="../media/image15.svg"/><Relationship Id="rId1" Type="http://schemas.openxmlformats.org/officeDocument/2006/relationships/image" Target="../media/image31.png"/></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34.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6.svg"/><Relationship Id="rId1" Type="http://schemas.openxmlformats.org/officeDocument/2006/relationships/image" Target="../media/image3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8.svg"/><Relationship Id="rId1" Type="http://schemas.openxmlformats.org/officeDocument/2006/relationships/image" Target="../media/image37.png"/></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39.jpeg"/></Relationships>
</file>

<file path=ppt/slides/_rels/slide2.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image" Target="../media/image3.png"/><Relationship Id="rId2" Type="http://schemas.openxmlformats.org/officeDocument/2006/relationships/image" Target="../media/image2.svg"/><Relationship Id="rId1" Type="http://schemas.openxmlformats.org/officeDocument/2006/relationships/image" Target="../media/image1.png"/></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6.png"/></Relationships>
</file>

<file path=ppt/slides/_rels/slide21.xml.rels><?xml version="1.0" encoding="UTF-8" standalone="yes"?>
<Relationships xmlns="http://schemas.openxmlformats.org/package/2006/relationships"><Relationship Id="rId9" Type="http://schemas.openxmlformats.org/officeDocument/2006/relationships/image" Target="../media/image48.png"/><Relationship Id="rId8" Type="http://schemas.openxmlformats.org/officeDocument/2006/relationships/image" Target="../media/image47.png"/><Relationship Id="rId7" Type="http://schemas.openxmlformats.org/officeDocument/2006/relationships/image" Target="../media/image46.png"/><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 Id="rId3" Type="http://schemas.microsoft.com/office/2007/relationships/hdphoto" Target="../media/image42.wdp"/><Relationship Id="rId25" Type="http://schemas.openxmlformats.org/officeDocument/2006/relationships/slideLayout" Target="../slideLayouts/slideLayout2.xml"/><Relationship Id="rId24" Type="http://schemas.openxmlformats.org/officeDocument/2006/relationships/audio" Target="../media/audio1.wav"/><Relationship Id="rId23" Type="http://schemas.openxmlformats.org/officeDocument/2006/relationships/image" Target="../media/image26.png"/><Relationship Id="rId22" Type="http://schemas.microsoft.com/office/2007/relationships/hdphoto" Target="../media/image56.wdp"/><Relationship Id="rId21" Type="http://schemas.openxmlformats.org/officeDocument/2006/relationships/image" Target="../media/image55.png"/><Relationship Id="rId20" Type="http://schemas.openxmlformats.org/officeDocument/2006/relationships/image" Target="../media/image54.GIF"/><Relationship Id="rId2" Type="http://schemas.openxmlformats.org/officeDocument/2006/relationships/image" Target="../media/image41.png"/><Relationship Id="rId19" Type="http://schemas.openxmlformats.org/officeDocument/2006/relationships/image" Target="../media/image53.GIF"/><Relationship Id="rId18" Type="http://schemas.openxmlformats.org/officeDocument/2006/relationships/image" Target="../media/image52.png"/><Relationship Id="rId17" Type="http://schemas.microsoft.com/office/2007/relationships/hdphoto" Target="../media/image51.wdp"/><Relationship Id="rId16" Type="http://schemas.openxmlformats.org/officeDocument/2006/relationships/image" Target="../media/image50.png"/><Relationship Id="rId15" Type="http://schemas.openxmlformats.org/officeDocument/2006/relationships/slide" Target="slide21.xml"/><Relationship Id="rId14" Type="http://schemas.openxmlformats.org/officeDocument/2006/relationships/slide" Target="slide20.xml"/><Relationship Id="rId13" Type="http://schemas.openxmlformats.org/officeDocument/2006/relationships/slide" Target="slide19.xml"/><Relationship Id="rId12" Type="http://schemas.openxmlformats.org/officeDocument/2006/relationships/slide" Target="slide18.xml"/><Relationship Id="rId11" Type="http://schemas.openxmlformats.org/officeDocument/2006/relationships/slide" Target="slide17.xml"/><Relationship Id="rId10" Type="http://schemas.microsoft.com/office/2007/relationships/hdphoto" Target="../media/image49.wdp"/><Relationship Id="rId1" Type="http://schemas.openxmlformats.org/officeDocument/2006/relationships/image" Target="../media/image40.png"/></Relationships>
</file>

<file path=ppt/slides/_rels/slide22.xml.rels><?xml version="1.0" encoding="UTF-8" standalone="yes"?>
<Relationships xmlns="http://schemas.openxmlformats.org/package/2006/relationships"><Relationship Id="rId9" Type="http://schemas.openxmlformats.org/officeDocument/2006/relationships/audio" Target="../media/audio2.wav"/><Relationship Id="rId8" Type="http://schemas.openxmlformats.org/officeDocument/2006/relationships/image" Target="../media/image26.png"/><Relationship Id="rId7" Type="http://schemas.openxmlformats.org/officeDocument/2006/relationships/image" Target="../media/image62.png"/><Relationship Id="rId6" Type="http://schemas.microsoft.com/office/2007/relationships/hdphoto" Target="../media/image61.wdp"/><Relationship Id="rId5" Type="http://schemas.openxmlformats.org/officeDocument/2006/relationships/image" Target="../media/image60.png"/><Relationship Id="rId4" Type="http://schemas.openxmlformats.org/officeDocument/2006/relationships/slide" Target="slide21.xml"/><Relationship Id="rId3" Type="http://schemas.microsoft.com/office/2007/relationships/hdphoto" Target="../media/image59.wdp"/><Relationship Id="rId2" Type="http://schemas.openxmlformats.org/officeDocument/2006/relationships/image" Target="../media/image58.png"/><Relationship Id="rId11" Type="http://schemas.openxmlformats.org/officeDocument/2006/relationships/slideLayout" Target="../slideLayouts/slideLayout2.xml"/><Relationship Id="rId10" Type="http://schemas.openxmlformats.org/officeDocument/2006/relationships/audio" Target="../media/audio1.wav"/><Relationship Id="rId1" Type="http://schemas.openxmlformats.org/officeDocument/2006/relationships/image" Target="../media/image57.png"/></Relationships>
</file>

<file path=ppt/slides/_rels/slide23.xml.rels><?xml version="1.0" encoding="UTF-8" standalone="yes"?>
<Relationships xmlns="http://schemas.openxmlformats.org/package/2006/relationships"><Relationship Id="rId9" Type="http://schemas.openxmlformats.org/officeDocument/2006/relationships/audio" Target="../media/audio2.wav"/><Relationship Id="rId8" Type="http://schemas.openxmlformats.org/officeDocument/2006/relationships/image" Target="../media/image26.png"/><Relationship Id="rId7" Type="http://schemas.microsoft.com/office/2007/relationships/hdphoto" Target="../media/image61.wdp"/><Relationship Id="rId6" Type="http://schemas.openxmlformats.org/officeDocument/2006/relationships/image" Target="../media/image60.png"/><Relationship Id="rId5" Type="http://schemas.openxmlformats.org/officeDocument/2006/relationships/slide" Target="slide16.xml"/><Relationship Id="rId4" Type="http://schemas.openxmlformats.org/officeDocument/2006/relationships/image" Target="../media/image62.png"/><Relationship Id="rId3" Type="http://schemas.microsoft.com/office/2007/relationships/hdphoto" Target="../media/image59.wdp"/><Relationship Id="rId2" Type="http://schemas.openxmlformats.org/officeDocument/2006/relationships/image" Target="../media/image58.png"/><Relationship Id="rId11" Type="http://schemas.openxmlformats.org/officeDocument/2006/relationships/slideLayout" Target="../slideLayouts/slideLayout2.xml"/><Relationship Id="rId10" Type="http://schemas.openxmlformats.org/officeDocument/2006/relationships/audio" Target="../media/audio1.wav"/><Relationship Id="rId1" Type="http://schemas.openxmlformats.org/officeDocument/2006/relationships/image" Target="../media/image57.png"/></Relationships>
</file>

<file path=ppt/slides/_rels/slide24.xml.rels><?xml version="1.0" encoding="UTF-8" standalone="yes"?>
<Relationships xmlns="http://schemas.openxmlformats.org/package/2006/relationships"><Relationship Id="rId9" Type="http://schemas.openxmlformats.org/officeDocument/2006/relationships/audio" Target="../media/audio2.wav"/><Relationship Id="rId8" Type="http://schemas.openxmlformats.org/officeDocument/2006/relationships/image" Target="../media/image26.png"/><Relationship Id="rId7" Type="http://schemas.microsoft.com/office/2007/relationships/hdphoto" Target="../media/image61.wdp"/><Relationship Id="rId6" Type="http://schemas.openxmlformats.org/officeDocument/2006/relationships/image" Target="../media/image60.png"/><Relationship Id="rId5" Type="http://schemas.openxmlformats.org/officeDocument/2006/relationships/slide" Target="slide16.xml"/><Relationship Id="rId4" Type="http://schemas.openxmlformats.org/officeDocument/2006/relationships/image" Target="../media/image62.png"/><Relationship Id="rId3" Type="http://schemas.microsoft.com/office/2007/relationships/hdphoto" Target="../media/image59.wdp"/><Relationship Id="rId2" Type="http://schemas.openxmlformats.org/officeDocument/2006/relationships/image" Target="../media/image58.png"/><Relationship Id="rId11" Type="http://schemas.openxmlformats.org/officeDocument/2006/relationships/slideLayout" Target="../slideLayouts/slideLayout2.xml"/><Relationship Id="rId10" Type="http://schemas.openxmlformats.org/officeDocument/2006/relationships/audio" Target="../media/audio1.wav"/><Relationship Id="rId1" Type="http://schemas.openxmlformats.org/officeDocument/2006/relationships/image" Target="../media/image57.png"/></Relationships>
</file>

<file path=ppt/slides/_rels/slide25.xml.rels><?xml version="1.0" encoding="UTF-8" standalone="yes"?>
<Relationships xmlns="http://schemas.openxmlformats.org/package/2006/relationships"><Relationship Id="rId9" Type="http://schemas.openxmlformats.org/officeDocument/2006/relationships/audio" Target="../media/audio2.wav"/><Relationship Id="rId8" Type="http://schemas.openxmlformats.org/officeDocument/2006/relationships/image" Target="../media/image26.png"/><Relationship Id="rId7" Type="http://schemas.microsoft.com/office/2007/relationships/hdphoto" Target="../media/image61.wdp"/><Relationship Id="rId6" Type="http://schemas.openxmlformats.org/officeDocument/2006/relationships/image" Target="../media/image60.png"/><Relationship Id="rId5" Type="http://schemas.openxmlformats.org/officeDocument/2006/relationships/slide" Target="slide16.xml"/><Relationship Id="rId4" Type="http://schemas.openxmlformats.org/officeDocument/2006/relationships/image" Target="../media/image62.png"/><Relationship Id="rId3" Type="http://schemas.microsoft.com/office/2007/relationships/hdphoto" Target="../media/image59.wdp"/><Relationship Id="rId2" Type="http://schemas.openxmlformats.org/officeDocument/2006/relationships/image" Target="../media/image58.png"/><Relationship Id="rId11" Type="http://schemas.openxmlformats.org/officeDocument/2006/relationships/slideLayout" Target="../slideLayouts/slideLayout2.xml"/><Relationship Id="rId10" Type="http://schemas.openxmlformats.org/officeDocument/2006/relationships/audio" Target="../media/audio1.wav"/><Relationship Id="rId1" Type="http://schemas.openxmlformats.org/officeDocument/2006/relationships/image" Target="../media/image57.png"/></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63.jpeg"/></Relationships>
</file>

<file path=ppt/slides/_rels/slide27.xml.rels><?xml version="1.0" encoding="UTF-8" standalone="yes"?>
<Relationships xmlns="http://schemas.openxmlformats.org/package/2006/relationships"><Relationship Id="rId7"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image" Target="../media/image26.png"/></Relationships>
</file>

<file path=ppt/slides/_rels/slide28.xml.rels><?xml version="1.0" encoding="UTF-8" standalone="yes"?>
<Relationships xmlns="http://schemas.openxmlformats.org/package/2006/relationships"><Relationship Id="rId7"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image" Target="../media/image26.png"/></Relationships>
</file>

<file path=ppt/slides/_rels/slide29.xml.rels><?xml version="1.0" encoding="UTF-8" standalone="yes"?>
<Relationships xmlns="http://schemas.openxmlformats.org/package/2006/relationships"><Relationship Id="rId8" Type="http://schemas.openxmlformats.org/officeDocument/2006/relationships/slideLayout" Target="../slideLayouts/slideLayout7.xml"/><Relationship Id="rId7" Type="http://schemas.openxmlformats.org/officeDocument/2006/relationships/image" Target="../media/image67.svg"/><Relationship Id="rId6" Type="http://schemas.openxmlformats.org/officeDocument/2006/relationships/image" Target="../media/image66.png"/><Relationship Id="rId5" Type="http://schemas.openxmlformats.org/officeDocument/2006/relationships/image" Target="../media/image2.svg"/><Relationship Id="rId4" Type="http://schemas.openxmlformats.org/officeDocument/2006/relationships/image" Target="../media/image65.png"/><Relationship Id="rId3" Type="http://schemas.openxmlformats.org/officeDocument/2006/relationships/image" Target="../media/image64.png"/><Relationship Id="rId2" Type="http://schemas.microsoft.com/office/2007/relationships/media" Target="../media/media2.mp3"/><Relationship Id="rId1" Type="http://schemas.openxmlformats.org/officeDocument/2006/relationships/audio" Target="../media/media2.mp3"/></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5.jpeg"/><Relationship Id="rId1" Type="http://schemas.openxmlformats.org/officeDocument/2006/relationships/image" Target="../media/image4.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6.svg"/><Relationship Id="rId1" Type="http://schemas.openxmlformats.org/officeDocument/2006/relationships/image" Target="../media/image35.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69.png"/><Relationship Id="rId1" Type="http://schemas.openxmlformats.org/officeDocument/2006/relationships/image" Target="../media/image68.png"/></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70.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72.png"/><Relationship Id="rId1" Type="http://schemas.openxmlformats.org/officeDocument/2006/relationships/image" Target="../media/image71.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74.png"/><Relationship Id="rId1" Type="http://schemas.openxmlformats.org/officeDocument/2006/relationships/image" Target="../media/image73.png"/></Relationships>
</file>

<file path=ppt/slides/_rels/slide36.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image" Target="../media/image75.png"/><Relationship Id="rId2" Type="http://schemas.openxmlformats.org/officeDocument/2006/relationships/image" Target="../media/image36.svg"/><Relationship Id="rId1" Type="http://schemas.openxmlformats.org/officeDocument/2006/relationships/image" Target="../media/image35.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5" Type="http://schemas.openxmlformats.org/officeDocument/2006/relationships/slideLayout" Target="../slideLayouts/slideLayout7.xml"/><Relationship Id="rId4" Type="http://schemas.openxmlformats.org/officeDocument/2006/relationships/image" Target="../media/image79.svg"/><Relationship Id="rId3" Type="http://schemas.openxmlformats.org/officeDocument/2006/relationships/image" Target="../media/image78.png"/><Relationship Id="rId2" Type="http://schemas.openxmlformats.org/officeDocument/2006/relationships/image" Target="../media/image77.svg"/><Relationship Id="rId1" Type="http://schemas.openxmlformats.org/officeDocument/2006/relationships/image" Target="../media/image76.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6.jpeg"/><Relationship Id="rId1" Type="http://schemas.openxmlformats.org/officeDocument/2006/relationships/image" Target="../media/image4.png"/></Relationships>
</file>

<file path=ppt/slides/_rels/slide40.xml.rels><?xml version="1.0" encoding="UTF-8" standalone="yes"?>
<Relationships xmlns="http://schemas.openxmlformats.org/package/2006/relationships"><Relationship Id="rId4" Type="http://schemas.openxmlformats.org/officeDocument/2006/relationships/notesSlide" Target="../notesSlides/notesSlide5.xml"/><Relationship Id="rId3" Type="http://schemas.openxmlformats.org/officeDocument/2006/relationships/slideLayout" Target="../slideLayouts/slideLayout7.xml"/><Relationship Id="rId2" Type="http://schemas.openxmlformats.org/officeDocument/2006/relationships/image" Target="../media/image81.svg"/><Relationship Id="rId1" Type="http://schemas.openxmlformats.org/officeDocument/2006/relationships/image" Target="../media/image80.png"/></Relationships>
</file>

<file path=ppt/slides/_rels/slide41.xml.rels><?xml version="1.0" encoding="UTF-8" standalone="yes"?>
<Relationships xmlns="http://schemas.openxmlformats.org/package/2006/relationships"><Relationship Id="rId9" Type="http://schemas.openxmlformats.org/officeDocument/2006/relationships/image" Target="../media/image31.png"/><Relationship Id="rId8" Type="http://schemas.openxmlformats.org/officeDocument/2006/relationships/image" Target="../media/image89.svg"/><Relationship Id="rId7" Type="http://schemas.openxmlformats.org/officeDocument/2006/relationships/image" Target="../media/image88.png"/><Relationship Id="rId6" Type="http://schemas.openxmlformats.org/officeDocument/2006/relationships/image" Target="../media/image87.svg"/><Relationship Id="rId5" Type="http://schemas.openxmlformats.org/officeDocument/2006/relationships/image" Target="../media/image86.png"/><Relationship Id="rId4" Type="http://schemas.openxmlformats.org/officeDocument/2006/relationships/image" Target="../media/image85.svg"/><Relationship Id="rId3" Type="http://schemas.openxmlformats.org/officeDocument/2006/relationships/image" Target="../media/image84.png"/><Relationship Id="rId2" Type="http://schemas.openxmlformats.org/officeDocument/2006/relationships/image" Target="../media/image83.svg"/><Relationship Id="rId11" Type="http://schemas.openxmlformats.org/officeDocument/2006/relationships/slideLayout" Target="../slideLayouts/slideLayout7.xml"/><Relationship Id="rId10" Type="http://schemas.openxmlformats.org/officeDocument/2006/relationships/image" Target="../media/image15.svg"/><Relationship Id="rId1" Type="http://schemas.openxmlformats.org/officeDocument/2006/relationships/image" Target="../media/image82.png"/></Relationships>
</file>

<file path=ppt/slides/_rels/slide42.xml.rels><?xml version="1.0" encoding="UTF-8" standalone="yes"?>
<Relationships xmlns="http://schemas.openxmlformats.org/package/2006/relationships"><Relationship Id="rId5" Type="http://schemas.openxmlformats.org/officeDocument/2006/relationships/slideLayout" Target="../slideLayouts/slideLayout7.xml"/><Relationship Id="rId4" Type="http://schemas.openxmlformats.org/officeDocument/2006/relationships/image" Target="../media/image93.svg"/><Relationship Id="rId3" Type="http://schemas.openxmlformats.org/officeDocument/2006/relationships/image" Target="../media/image92.png"/><Relationship Id="rId2" Type="http://schemas.openxmlformats.org/officeDocument/2006/relationships/image" Target="../media/image91.svg"/><Relationship Id="rId1" Type="http://schemas.openxmlformats.org/officeDocument/2006/relationships/image" Target="../media/image90.png"/></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95.svg"/><Relationship Id="rId1" Type="http://schemas.openxmlformats.org/officeDocument/2006/relationships/image" Target="../media/image94.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9" Type="http://schemas.openxmlformats.org/officeDocument/2006/relationships/image" Target="../media/image104.png"/><Relationship Id="rId8" Type="http://schemas.openxmlformats.org/officeDocument/2006/relationships/image" Target="../media/image103.svg"/><Relationship Id="rId7" Type="http://schemas.openxmlformats.org/officeDocument/2006/relationships/image" Target="../media/image102.png"/><Relationship Id="rId6" Type="http://schemas.openxmlformats.org/officeDocument/2006/relationships/image" Target="../media/image101.svg"/><Relationship Id="rId5" Type="http://schemas.openxmlformats.org/officeDocument/2006/relationships/image" Target="../media/image100.png"/><Relationship Id="rId4" Type="http://schemas.openxmlformats.org/officeDocument/2006/relationships/image" Target="../media/image99.svg"/><Relationship Id="rId3" Type="http://schemas.openxmlformats.org/officeDocument/2006/relationships/image" Target="../media/image98.png"/><Relationship Id="rId2" Type="http://schemas.openxmlformats.org/officeDocument/2006/relationships/image" Target="../media/image97.svg"/><Relationship Id="rId16" Type="http://schemas.openxmlformats.org/officeDocument/2006/relationships/slideLayout" Target="../slideLayouts/slideLayout7.xml"/><Relationship Id="rId15" Type="http://schemas.openxmlformats.org/officeDocument/2006/relationships/image" Target="../media/image110.jpeg"/><Relationship Id="rId14" Type="http://schemas.openxmlformats.org/officeDocument/2006/relationships/image" Target="../media/image109.jpeg"/><Relationship Id="rId13" Type="http://schemas.openxmlformats.org/officeDocument/2006/relationships/image" Target="../media/image108.jpeg"/><Relationship Id="rId12" Type="http://schemas.openxmlformats.org/officeDocument/2006/relationships/image" Target="../media/image107.svg"/><Relationship Id="rId11" Type="http://schemas.openxmlformats.org/officeDocument/2006/relationships/image" Target="../media/image106.png"/><Relationship Id="rId10" Type="http://schemas.openxmlformats.org/officeDocument/2006/relationships/image" Target="../media/image105.svg"/><Relationship Id="rId1" Type="http://schemas.openxmlformats.org/officeDocument/2006/relationships/image" Target="../media/image96.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7" Type="http://schemas.openxmlformats.org/officeDocument/2006/relationships/slideLayout" Target="../slideLayouts/slideLayout7.xml"/><Relationship Id="rId6" Type="http://schemas.openxmlformats.org/officeDocument/2006/relationships/image" Target="../media/image19.svg"/><Relationship Id="rId5" Type="http://schemas.openxmlformats.org/officeDocument/2006/relationships/image" Target="../media/image33.png"/><Relationship Id="rId4" Type="http://schemas.openxmlformats.org/officeDocument/2006/relationships/image" Target="../media/image17.svg"/><Relationship Id="rId3" Type="http://schemas.openxmlformats.org/officeDocument/2006/relationships/image" Target="../media/image32.png"/><Relationship Id="rId2" Type="http://schemas.openxmlformats.org/officeDocument/2006/relationships/image" Target="../media/image15.svg"/><Relationship Id="rId1" Type="http://schemas.openxmlformats.org/officeDocument/2006/relationships/image" Target="../media/image31.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7.jpeg"/><Relationship Id="rId1"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8.jpeg"/><Relationship Id="rId1" Type="http://schemas.openxmlformats.org/officeDocument/2006/relationships/image" Target="../media/image4.png"/></Relationships>
</file>

<file path=ppt/slides/_rels/slide7.xml.rels><?xml version="1.0" encoding="UTF-8" standalone="yes"?>
<Relationships xmlns="http://schemas.openxmlformats.org/package/2006/relationships"><Relationship Id="rId4" Type="http://schemas.openxmlformats.org/officeDocument/2006/relationships/notesSlide" Target="../notesSlides/notesSlide2.xml"/><Relationship Id="rId3" Type="http://schemas.openxmlformats.org/officeDocument/2006/relationships/slideLayout" Target="../slideLayouts/slideLayout2.xml"/><Relationship Id="rId2" Type="http://schemas.openxmlformats.org/officeDocument/2006/relationships/image" Target="../media/image9.jpeg"/><Relationship Id="rId1" Type="http://schemas.openxmlformats.org/officeDocument/2006/relationships/image" Target="../media/image4.png"/></Relationships>
</file>

<file path=ppt/slides/_rels/slide8.xml.rels><?xml version="1.0" encoding="UTF-8" standalone="yes"?>
<Relationships xmlns="http://schemas.openxmlformats.org/package/2006/relationships"><Relationship Id="rId6" Type="http://schemas.openxmlformats.org/officeDocument/2006/relationships/notesSlide" Target="../notesSlides/notesSlide3.xml"/><Relationship Id="rId5" Type="http://schemas.openxmlformats.org/officeDocument/2006/relationships/slideLayout" Target="../slideLayouts/slideLayout7.xml"/><Relationship Id="rId4" Type="http://schemas.openxmlformats.org/officeDocument/2006/relationships/image" Target="../media/image13.png"/><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s>
</file>

<file path=ppt/slides/_rels/slide9.xml.rels><?xml version="1.0" encoding="UTF-8" standalone="yes"?>
<Relationships xmlns="http://schemas.openxmlformats.org/package/2006/relationships"><Relationship Id="rId7" Type="http://schemas.openxmlformats.org/officeDocument/2006/relationships/slideLayout" Target="../slideLayouts/slideLayout7.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 Id="rId3" Type="http://schemas.openxmlformats.org/officeDocument/2006/relationships/image" Target="../media/image16.png"/><Relationship Id="rId2" Type="http://schemas.openxmlformats.org/officeDocument/2006/relationships/image" Target="../media/image15.svg"/><Relationship Id="rId1"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E5CE4B"/>
        </a:solidFill>
        <a:effectLst/>
      </p:bgPr>
    </p:bg>
    <p:spTree>
      <p:nvGrpSpPr>
        <p:cNvPr id="1" name=""/>
        <p:cNvGrpSpPr/>
        <p:nvPr/>
      </p:nvGrpSpPr>
      <p:grpSpPr>
        <a:xfrm>
          <a:off x="0" y="0"/>
          <a:ext cx="0" cy="0"/>
          <a:chOff x="0" y="0"/>
          <a:chExt cx="0" cy="0"/>
        </a:xfrm>
      </p:grpSpPr>
      <p:sp>
        <p:nvSpPr>
          <p:cNvPr id="2" name="AutoShape 2"/>
          <p:cNvSpPr/>
          <p:nvPr/>
        </p:nvSpPr>
        <p:spPr>
          <a:xfrm>
            <a:off x="455209" y="495300"/>
            <a:ext cx="17377583" cy="9312861"/>
          </a:xfrm>
          <a:prstGeom prst="rect">
            <a:avLst/>
          </a:prstGeom>
          <a:solidFill>
            <a:srgbClr val="F5FBF6"/>
          </a:solidFill>
        </p:spPr>
      </p:sp>
      <p:sp>
        <p:nvSpPr>
          <p:cNvPr id="4" name="TextBox 4"/>
          <p:cNvSpPr txBox="1"/>
          <p:nvPr/>
        </p:nvSpPr>
        <p:spPr>
          <a:xfrm>
            <a:off x="455209" y="2845406"/>
            <a:ext cx="17377583" cy="2224135"/>
          </a:xfrm>
          <a:prstGeom prst="rect">
            <a:avLst/>
          </a:prstGeom>
        </p:spPr>
        <p:txBody>
          <a:bodyPr wrap="square" lIns="0" tIns="0" rIns="0" bIns="0" rtlCol="0" anchor="t">
            <a:spAutoFit/>
          </a:bodyPr>
          <a:lstStyle/>
          <a:p>
            <a:pPr algn="ctr">
              <a:lnSpc>
                <a:spcPts val="9000"/>
              </a:lnSpc>
            </a:pPr>
            <a:r>
              <a:rPr lang="en-US" sz="7000" b="1" spc="634" dirty="0" smtClean="0">
                <a:solidFill>
                  <a:srgbClr val="E5CE4B"/>
                </a:solidFill>
                <a:latin typeface="Arial" panose="020B0604020202020204" pitchFamily="34" charset="0"/>
                <a:cs typeface="Arial" panose="020B0604020202020204" pitchFamily="34" charset="0"/>
              </a:rPr>
              <a:t>CHÀO MỪNG CÁC EM ĐẾN VỚI BÀI HỌC NGÀY HÔM NAY!</a:t>
            </a:r>
            <a:endParaRPr lang="en-US" sz="7000" b="1" spc="634" dirty="0">
              <a:solidFill>
                <a:srgbClr val="E5CE4B"/>
              </a:solidFill>
              <a:latin typeface="Arial" panose="020B0604020202020204" pitchFamily="34" charset="0"/>
              <a:cs typeface="Arial" panose="020B0604020202020204" pitchFamily="34" charset="0"/>
            </a:endParaRPr>
          </a:p>
        </p:txBody>
      </p:sp>
      <p:pic>
        <p:nvPicPr>
          <p:cNvPr id="8" name="Picture 8"/>
          <p:cNvPicPr>
            <a:picLocks noChangeAspect="1"/>
          </p:cNvPicPr>
          <p:nvPr/>
        </p:nvPicPr>
        <p:blipFill>
          <a:blip/>
          <a:srcRect/>
          <a:stretch>
            <a:fillRect/>
          </a:stretch>
        </p:blipFill>
        <p:spPr>
          <a:xfrm rot="-8465734">
            <a:off x="15468658" y="-1317512"/>
            <a:ext cx="3369859" cy="4587679"/>
          </a:xfrm>
          <a:prstGeom prst="rect">
            <a:avLst/>
          </a:prstGeom>
        </p:spPr>
      </p:pic>
      <p:pic>
        <p:nvPicPr>
          <p:cNvPr id="9" name="Picture 8"/>
          <p:cNvPicPr>
            <a:picLocks noChangeAspect="1"/>
          </p:cNvPicPr>
          <p:nvPr/>
        </p:nvPicPr>
        <p:blipFill>
          <a:blip/>
          <a:srcRect/>
          <a:stretch>
            <a:fillRect/>
          </a:stretch>
        </p:blipFill>
        <p:spPr>
          <a:xfrm rot="-2781173">
            <a:off x="558481" y="6048675"/>
            <a:ext cx="3140130" cy="4151614"/>
          </a:xfrm>
          <a:prstGeom prst="rect">
            <a:avLst/>
          </a:prstGeom>
        </p:spPr>
      </p:pic>
      <p:pic>
        <p:nvPicPr>
          <p:cNvPr id="11" name="Picture 23"/>
          <p:cNvPicPr>
            <a:picLocks noChangeAspect="1"/>
          </p:cNvPicPr>
          <p:nvPr/>
        </p:nvPicPr>
        <p:blipFill>
          <a:blip/>
          <a:srcRect/>
          <a:stretch>
            <a:fillRect/>
          </a:stretch>
        </p:blipFill>
        <p:spPr>
          <a:xfrm>
            <a:off x="4714292" y="5116712"/>
            <a:ext cx="9086373" cy="3441463"/>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31" presetClass="entr" presetSubtype="0" fill="hold" nodeType="clickEffect">
                                  <p:stCondLst>
                                    <p:cond delay="0"/>
                                  </p:stCondLst>
                                  <p:childTnLst>
                                    <p:set>
                                      <p:cBhvr>
                                        <p:cTn id="13" dur="1" fill="hold">
                                          <p:stCondLst>
                                            <p:cond delay="0"/>
                                          </p:stCondLst>
                                        </p:cTn>
                                        <p:tgtEl>
                                          <p:spTgt spid="11"/>
                                        </p:tgtEl>
                                        <p:attrNameLst>
                                          <p:attrName>style.visibility</p:attrName>
                                        </p:attrNameLst>
                                      </p:cBhvr>
                                      <p:to>
                                        <p:strVal val="visible"/>
                                      </p:to>
                                    </p:set>
                                    <p:anim calcmode="lin" valueType="num">
                                      <p:cBhvr>
                                        <p:cTn id="14" dur="1000" fill="hold"/>
                                        <p:tgtEl>
                                          <p:spTgt spid="11"/>
                                        </p:tgtEl>
                                        <p:attrNameLst>
                                          <p:attrName>ppt_w</p:attrName>
                                        </p:attrNameLst>
                                      </p:cBhvr>
                                      <p:tavLst>
                                        <p:tav tm="0">
                                          <p:val>
                                            <p:fltVal val="0"/>
                                          </p:val>
                                        </p:tav>
                                        <p:tav tm="100000">
                                          <p:val>
                                            <p:strVal val="#ppt_w"/>
                                          </p:val>
                                        </p:tav>
                                      </p:tavLst>
                                    </p:anim>
                                    <p:anim calcmode="lin" valueType="num">
                                      <p:cBhvr>
                                        <p:cTn id="15" dur="1000" fill="hold"/>
                                        <p:tgtEl>
                                          <p:spTgt spid="11"/>
                                        </p:tgtEl>
                                        <p:attrNameLst>
                                          <p:attrName>ppt_h</p:attrName>
                                        </p:attrNameLst>
                                      </p:cBhvr>
                                      <p:tavLst>
                                        <p:tav tm="0">
                                          <p:val>
                                            <p:fltVal val="0"/>
                                          </p:val>
                                        </p:tav>
                                        <p:tav tm="100000">
                                          <p:val>
                                            <p:strVal val="#ppt_h"/>
                                          </p:val>
                                        </p:tav>
                                      </p:tavLst>
                                    </p:anim>
                                    <p:anim calcmode="lin" valueType="num">
                                      <p:cBhvr>
                                        <p:cTn id="16" dur="1000" fill="hold"/>
                                        <p:tgtEl>
                                          <p:spTgt spid="11"/>
                                        </p:tgtEl>
                                        <p:attrNameLst>
                                          <p:attrName>style.rotation</p:attrName>
                                        </p:attrNameLst>
                                      </p:cBhvr>
                                      <p:tavLst>
                                        <p:tav tm="0">
                                          <p:val>
                                            <p:fltVal val="90"/>
                                          </p:val>
                                        </p:tav>
                                        <p:tav tm="100000">
                                          <p:val>
                                            <p:fltVal val="0"/>
                                          </p:val>
                                        </p:tav>
                                      </p:tavLst>
                                    </p:anim>
                                    <p:animEffect transition="in" filter="fade">
                                      <p:cBhvr>
                                        <p:cTn id="17"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6F2EF"/>
        </a:solidFill>
        <a:effectLst/>
      </p:bgPr>
    </p:bg>
    <p:spTree>
      <p:nvGrpSpPr>
        <p:cNvPr id="1" name=""/>
        <p:cNvGrpSpPr/>
        <p:nvPr/>
      </p:nvGrpSpPr>
      <p:grpSpPr>
        <a:xfrm>
          <a:off x="0" y="0"/>
          <a:ext cx="0" cy="0"/>
          <a:chOff x="0" y="0"/>
          <a:chExt cx="0" cy="0"/>
        </a:xfrm>
      </p:grpSpPr>
      <p:pic>
        <p:nvPicPr>
          <p:cNvPr id="2" name="Picture 2"/>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a:off x="6934200" y="4229100"/>
            <a:ext cx="3700927" cy="4988995"/>
          </a:xfrm>
          <a:prstGeom prst="rect">
            <a:avLst/>
          </a:prstGeom>
        </p:spPr>
      </p:pic>
      <p:pic>
        <p:nvPicPr>
          <p:cNvPr id="3" name="Picture 3"/>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7616224" y="4437369"/>
            <a:ext cx="3905460" cy="5264713"/>
          </a:xfrm>
          <a:prstGeom prst="rect">
            <a:avLst/>
          </a:prstGeom>
        </p:spPr>
      </p:pic>
      <p:pic>
        <p:nvPicPr>
          <p:cNvPr id="4" name="Picture 4"/>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flipH="1">
            <a:off x="8827328" y="5764656"/>
            <a:ext cx="2555747" cy="3937426"/>
          </a:xfrm>
          <a:prstGeom prst="rect">
            <a:avLst/>
          </a:prstGeom>
        </p:spPr>
      </p:pic>
      <p:sp>
        <p:nvSpPr>
          <p:cNvPr id="6" name="TextBox 6"/>
          <p:cNvSpPr txBox="1"/>
          <p:nvPr/>
        </p:nvSpPr>
        <p:spPr>
          <a:xfrm>
            <a:off x="0" y="2846174"/>
            <a:ext cx="18288000" cy="846386"/>
          </a:xfrm>
          <a:prstGeom prst="rect">
            <a:avLst/>
          </a:prstGeom>
        </p:spPr>
        <p:txBody>
          <a:bodyPr wrap="square" lIns="0" tIns="0" rIns="0" bIns="0" rtlCol="0" anchor="t">
            <a:spAutoFit/>
          </a:bodyPr>
          <a:lstStyle/>
          <a:p>
            <a:pPr algn="ctr">
              <a:lnSpc>
                <a:spcPts val="6595"/>
              </a:lnSpc>
            </a:pPr>
            <a:r>
              <a:rPr lang="en-US" sz="6000" b="1" dirty="0" smtClean="0">
                <a:solidFill>
                  <a:schemeClr val="accent6">
                    <a:lumMod val="50000"/>
                  </a:schemeClr>
                </a:solidFill>
                <a:latin typeface="Arial" panose="020B0604020202020204" pitchFamily="34" charset="0"/>
                <a:cs typeface="Arial" panose="020B0604020202020204" pitchFamily="34" charset="0"/>
              </a:rPr>
              <a:t>1. NHÀ NƯỚC ĐẦU TIÊN CỦA NGƯỜI VIỆT CỔ</a:t>
            </a:r>
            <a:endParaRPr lang="en-US" sz="6000" b="1" dirty="0">
              <a:solidFill>
                <a:schemeClr val="accent6">
                  <a:lumMod val="50000"/>
                </a:schemeClr>
              </a:solidFill>
              <a:latin typeface="Arial" panose="020B0604020202020204" pitchFamily="34" charset="0"/>
              <a:cs typeface="Arial" panose="020B0604020202020204" pitchFamily="34" charset="0"/>
            </a:endParaRPr>
          </a:p>
        </p:txBody>
      </p:sp>
      <p:pic>
        <p:nvPicPr>
          <p:cNvPr id="9" name="Picture 2"/>
          <p:cNvPicPr>
            <a:picLocks noChangeAspect="1"/>
          </p:cNvPicPr>
          <p:nvPr/>
        </p:nvPicPr>
        <p:blipFill>
          <a:blip/>
          <a:srcRect/>
          <a:stretch>
            <a:fillRect/>
          </a:stretch>
        </p:blipFill>
        <p:spPr>
          <a:xfrm rot="-3782829">
            <a:off x="7726442" y="5142680"/>
            <a:ext cx="3369839" cy="2132189"/>
          </a:xfrm>
          <a:prstGeom prst="rect">
            <a:avLst/>
          </a:prstGeom>
        </p:spPr>
      </p:pic>
      <p:pic>
        <p:nvPicPr>
          <p:cNvPr id="10" name="Picture 8"/>
          <p:cNvPicPr>
            <a:picLocks noChangeAspect="1"/>
          </p:cNvPicPr>
          <p:nvPr/>
        </p:nvPicPr>
        <p:blipFill>
          <a:blip/>
          <a:srcRect/>
          <a:stretch>
            <a:fillRect/>
          </a:stretch>
        </p:blipFill>
        <p:spPr>
          <a:xfrm rot="-8465734">
            <a:off x="15400808" y="-458527"/>
            <a:ext cx="3369859" cy="3400943"/>
          </a:xfrm>
          <a:prstGeom prst="rect">
            <a:avLst/>
          </a:prstGeom>
        </p:spPr>
      </p:pic>
      <p:pic>
        <p:nvPicPr>
          <p:cNvPr id="11" name="Picture 10"/>
          <p:cNvPicPr>
            <a:picLocks noChangeAspect="1"/>
          </p:cNvPicPr>
          <p:nvPr/>
        </p:nvPicPr>
        <p:blipFill>
          <a:blip/>
          <a:srcRect/>
          <a:stretch>
            <a:fillRect/>
          </a:stretch>
        </p:blipFill>
        <p:spPr>
          <a:xfrm rot="-2781173">
            <a:off x="212164" y="7136829"/>
            <a:ext cx="2631780" cy="3479516"/>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down)">
                                      <p:cBhvr>
                                        <p:cTn id="12" dur="500"/>
                                        <p:tgtEl>
                                          <p:spTgt spid="3"/>
                                        </p:tgtEl>
                                      </p:cBhvr>
                                    </p:animEffect>
                                  </p:childTnLst>
                                </p:cTn>
                              </p:par>
                              <p:par>
                                <p:cTn id="13" presetID="22" presetClass="entr" presetSubtype="4"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wipe(down)">
                                      <p:cBhvr>
                                        <p:cTn id="15" dur="500"/>
                                        <p:tgtEl>
                                          <p:spTgt spid="4"/>
                                        </p:tgtEl>
                                      </p:cBhvr>
                                    </p:animEffect>
                                  </p:childTnLst>
                                </p:cTn>
                              </p:par>
                              <p:par>
                                <p:cTn id="16" presetID="22" presetClass="entr" presetSubtype="4"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down)">
                                      <p:cBhvr>
                                        <p:cTn id="18" dur="500"/>
                                        <p:tgtEl>
                                          <p:spTgt spid="9"/>
                                        </p:tgtEl>
                                      </p:cBhvr>
                                    </p:animEffect>
                                  </p:childTnLst>
                                </p:cTn>
                              </p:par>
                              <p:par>
                                <p:cTn id="19" presetID="22" presetClass="entr" presetSubtype="4" fill="hold"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wipe(down)">
                                      <p:cBhvr>
                                        <p:cTn id="2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p:cNvCxnSpPr>
            <a:stCxn id="7" idx="5"/>
            <a:endCxn id="8" idx="2"/>
          </p:cNvCxnSpPr>
          <p:nvPr/>
        </p:nvCxnSpPr>
        <p:spPr>
          <a:xfrm flipH="1">
            <a:off x="3146562" y="2635172"/>
            <a:ext cx="11994876" cy="5901"/>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257300" y="26480"/>
            <a:ext cx="15773400" cy="1988345"/>
          </a:xfrm>
        </p:spPr>
        <p:txBody>
          <a:bodyPr/>
          <a:lstStyle/>
          <a:p>
            <a:r>
              <a:rPr lang="en-US" dirty="0">
                <a:latin typeface="Times New Roman" panose="02020603050405020304" pitchFamily="18" charset="0"/>
                <a:cs typeface="Times New Roman" panose="02020603050405020304" pitchFamily="18" charset="0"/>
              </a:rPr>
              <a:t>1. </a:t>
            </a:r>
            <a:r>
              <a:rPr lang="en-US" dirty="0" err="1">
                <a:latin typeface="Times New Roman" panose="02020603050405020304" pitchFamily="18" charset="0"/>
                <a:cs typeface="Times New Roman" panose="02020603050405020304" pitchFamily="18" charset="0"/>
              </a:rPr>
              <a:t>Nh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ướ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iê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ủ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gườ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iệ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ổ</a:t>
            </a:r>
            <a:endParaRPr lang="en-US" dirty="0">
              <a:latin typeface="Times New Roman" panose="02020603050405020304" pitchFamily="18" charset="0"/>
              <a:cs typeface="Times New Roman" panose="02020603050405020304" pitchFamily="18" charset="0"/>
            </a:endParaRPr>
          </a:p>
        </p:txBody>
      </p:sp>
      <p:sp>
        <p:nvSpPr>
          <p:cNvPr id="4" name="Nom1"/>
          <p:cNvSpPr>
            <a:spLocks noChangeAspect="1"/>
          </p:cNvSpPr>
          <p:nvPr/>
        </p:nvSpPr>
        <p:spPr>
          <a:xfrm>
            <a:off x="4320329" y="1965320"/>
            <a:ext cx="1531511" cy="1330851"/>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1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5" name="Nom2"/>
          <p:cNvSpPr>
            <a:spLocks noChangeAspect="1"/>
          </p:cNvSpPr>
          <p:nvPr/>
        </p:nvSpPr>
        <p:spPr>
          <a:xfrm>
            <a:off x="7025606" y="1975647"/>
            <a:ext cx="1531511" cy="1330851"/>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1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6" name="Nom3"/>
          <p:cNvSpPr>
            <a:spLocks noChangeAspect="1"/>
          </p:cNvSpPr>
          <p:nvPr/>
        </p:nvSpPr>
        <p:spPr>
          <a:xfrm>
            <a:off x="12436160" y="1965320"/>
            <a:ext cx="1531511" cy="1330851"/>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1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7" name="Nom4"/>
          <p:cNvSpPr>
            <a:spLocks noChangeAspect="1"/>
          </p:cNvSpPr>
          <p:nvPr/>
        </p:nvSpPr>
        <p:spPr>
          <a:xfrm>
            <a:off x="15141438" y="1965320"/>
            <a:ext cx="1531511" cy="1330851"/>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1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 name="Nom5"/>
          <p:cNvSpPr>
            <a:spLocks noChangeAspect="1"/>
          </p:cNvSpPr>
          <p:nvPr/>
        </p:nvSpPr>
        <p:spPr>
          <a:xfrm>
            <a:off x="1615052" y="1965320"/>
            <a:ext cx="1531511" cy="1330851"/>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1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2" name="Nom2 - 1"/>
          <p:cNvSpPr>
            <a:spLocks noChangeAspect="1"/>
          </p:cNvSpPr>
          <p:nvPr/>
        </p:nvSpPr>
        <p:spPr>
          <a:xfrm>
            <a:off x="9730883" y="1965320"/>
            <a:ext cx="1531511" cy="1330851"/>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1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9" name="Straight Connector 18"/>
          <p:cNvCxnSpPr/>
          <p:nvPr/>
        </p:nvCxnSpPr>
        <p:spPr>
          <a:xfrm>
            <a:off x="3733445" y="4147388"/>
            <a:ext cx="0" cy="538697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6438722" y="4147388"/>
            <a:ext cx="0" cy="538697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143999" y="4147388"/>
            <a:ext cx="0" cy="538697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1849276" y="4147388"/>
            <a:ext cx="0" cy="538697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4554553" y="4147388"/>
            <a:ext cx="0" cy="538697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891223" y="3423915"/>
            <a:ext cx="979170" cy="5067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sz="2700" b="1" dirty="0">
                <a:solidFill>
                  <a:srgbClr val="464646"/>
                </a:solidFill>
                <a:latin typeface="Calibri" panose="020F0502020204030204"/>
              </a:rPr>
              <a:t>when</a:t>
            </a:r>
            <a:endParaRPr kumimoji="0" lang="en-US" sz="2700" b="1" i="0" u="none" strike="noStrike" kern="1200" cap="none" spc="0" normalizeH="0" baseline="0" noProof="0" dirty="0">
              <a:ln>
                <a:noFill/>
              </a:ln>
              <a:solidFill>
                <a:srgbClr val="464646"/>
              </a:solidFill>
              <a:effectLst/>
              <a:uLnTx/>
              <a:uFillTx/>
              <a:latin typeface="Calibri" panose="020F0502020204030204"/>
              <a:ea typeface="+mn-ea"/>
              <a:cs typeface="+mn-cs"/>
            </a:endParaRPr>
          </a:p>
        </p:txBody>
      </p:sp>
      <p:sp>
        <p:nvSpPr>
          <p:cNvPr id="25" name="TextBox 24"/>
          <p:cNvSpPr txBox="1"/>
          <p:nvPr/>
        </p:nvSpPr>
        <p:spPr>
          <a:xfrm>
            <a:off x="4543477" y="3423915"/>
            <a:ext cx="1085215" cy="5067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sz="2700" b="1" dirty="0">
                <a:solidFill>
                  <a:srgbClr val="2DA2BF"/>
                </a:solidFill>
                <a:latin typeface="Calibri" panose="020F0502020204030204"/>
              </a:rPr>
              <a:t>where</a:t>
            </a:r>
            <a:endParaRPr kumimoji="0" lang="en-US" sz="2700" b="1" i="0" u="none" strike="noStrike" kern="1200" cap="none" spc="0" normalizeH="0" baseline="0" noProof="0" dirty="0">
              <a:ln>
                <a:noFill/>
              </a:ln>
              <a:solidFill>
                <a:srgbClr val="2DA2BF"/>
              </a:solidFill>
              <a:effectLst/>
              <a:uLnTx/>
              <a:uFillTx/>
              <a:latin typeface="Calibri" panose="020F0502020204030204"/>
              <a:ea typeface="+mn-ea"/>
              <a:cs typeface="+mn-cs"/>
            </a:endParaRPr>
          </a:p>
        </p:txBody>
      </p:sp>
      <p:sp>
        <p:nvSpPr>
          <p:cNvPr id="26" name="TextBox 25"/>
          <p:cNvSpPr txBox="1"/>
          <p:nvPr/>
        </p:nvSpPr>
        <p:spPr>
          <a:xfrm>
            <a:off x="7388136" y="3423915"/>
            <a:ext cx="806450" cy="5067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sz="2700" b="1" dirty="0">
                <a:solidFill>
                  <a:srgbClr val="DA1F28"/>
                </a:solidFill>
                <a:latin typeface="Calibri" panose="020F0502020204030204"/>
              </a:rPr>
              <a:t>who</a:t>
            </a:r>
            <a:endParaRPr kumimoji="0" lang="en-US" sz="2700" b="1" i="0" u="none" strike="noStrike" kern="1200" cap="none" spc="0" normalizeH="0" baseline="0" noProof="0" dirty="0">
              <a:ln>
                <a:noFill/>
              </a:ln>
              <a:solidFill>
                <a:srgbClr val="DA1F28"/>
              </a:solidFill>
              <a:effectLst/>
              <a:uLnTx/>
              <a:uFillTx/>
              <a:latin typeface="Calibri" panose="020F0502020204030204"/>
              <a:ea typeface="+mn-ea"/>
              <a:cs typeface="+mn-cs"/>
            </a:endParaRPr>
          </a:p>
        </p:txBody>
      </p:sp>
      <p:sp>
        <p:nvSpPr>
          <p:cNvPr id="27" name="TextBox 26"/>
          <p:cNvSpPr txBox="1"/>
          <p:nvPr/>
        </p:nvSpPr>
        <p:spPr>
          <a:xfrm>
            <a:off x="10079762" y="3423915"/>
            <a:ext cx="833755" cy="5067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sz="2700" b="1" dirty="0">
                <a:solidFill>
                  <a:srgbClr val="EB641B"/>
                </a:solidFill>
                <a:latin typeface="Calibri" panose="020F0502020204030204"/>
              </a:rPr>
              <a:t>Why</a:t>
            </a:r>
            <a:endParaRPr kumimoji="0" lang="en-US" sz="2700" b="1" i="0" u="none" strike="noStrike" kern="1200" cap="none" spc="0" normalizeH="0" baseline="0" noProof="0" dirty="0">
              <a:ln>
                <a:noFill/>
              </a:ln>
              <a:solidFill>
                <a:srgbClr val="EB641B"/>
              </a:solidFill>
              <a:effectLst/>
              <a:uLnTx/>
              <a:uFillTx/>
              <a:latin typeface="Calibri" panose="020F0502020204030204"/>
              <a:ea typeface="+mn-ea"/>
              <a:cs typeface="+mn-cs"/>
            </a:endParaRPr>
          </a:p>
        </p:txBody>
      </p:sp>
      <p:sp>
        <p:nvSpPr>
          <p:cNvPr id="28" name="TextBox 27"/>
          <p:cNvSpPr txBox="1"/>
          <p:nvPr/>
        </p:nvSpPr>
        <p:spPr>
          <a:xfrm>
            <a:off x="15426181" y="3423915"/>
            <a:ext cx="962025" cy="5067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700" b="1" i="0" u="none" strike="noStrike" kern="1200" cap="none" spc="0" normalizeH="0" baseline="0" noProof="0" dirty="0">
                <a:ln>
                  <a:noFill/>
                </a:ln>
                <a:solidFill>
                  <a:srgbClr val="474B78"/>
                </a:solidFill>
                <a:effectLst/>
                <a:uLnTx/>
                <a:uFillTx/>
                <a:latin typeface="Calibri" panose="020F0502020204030204"/>
                <a:ea typeface="+mn-ea"/>
                <a:cs typeface="+mn-cs"/>
              </a:rPr>
              <a:t>What</a:t>
            </a:r>
            <a:endParaRPr kumimoji="0" lang="en-US" sz="2700" b="1" i="0" u="none" strike="noStrike" kern="1200" cap="none" spc="0" normalizeH="0" baseline="0" noProof="0" dirty="0">
              <a:ln>
                <a:noFill/>
              </a:ln>
              <a:solidFill>
                <a:srgbClr val="474B78"/>
              </a:solidFill>
              <a:effectLst/>
              <a:uLnTx/>
              <a:uFillTx/>
              <a:latin typeface="Calibri" panose="020F0502020204030204"/>
              <a:ea typeface="+mn-ea"/>
              <a:cs typeface="+mn-cs"/>
            </a:endParaRPr>
          </a:p>
        </p:txBody>
      </p:sp>
      <p:sp>
        <p:nvSpPr>
          <p:cNvPr id="29" name="TextBox 28"/>
          <p:cNvSpPr txBox="1"/>
          <p:nvPr/>
        </p:nvSpPr>
        <p:spPr>
          <a:xfrm>
            <a:off x="12783135" y="3423915"/>
            <a:ext cx="837565" cy="5067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700" b="1" i="0" u="none" strike="noStrike" kern="1200" cap="none" spc="0" normalizeH="0" baseline="0" noProof="0" dirty="0">
                <a:ln>
                  <a:noFill/>
                </a:ln>
                <a:solidFill>
                  <a:srgbClr val="39639D"/>
                </a:solidFill>
                <a:effectLst/>
                <a:uLnTx/>
                <a:uFillTx/>
                <a:latin typeface="Calibri" panose="020F0502020204030204"/>
                <a:ea typeface="+mn-ea"/>
                <a:cs typeface="+mn-cs"/>
              </a:rPr>
              <a:t>How</a:t>
            </a:r>
            <a:endParaRPr kumimoji="0" lang="en-US" sz="2700" b="1" i="0" u="none" strike="noStrike" kern="1200" cap="none" spc="0" normalizeH="0" baseline="0" noProof="0" dirty="0">
              <a:ln>
                <a:noFill/>
              </a:ln>
              <a:solidFill>
                <a:srgbClr val="39639D"/>
              </a:solidFill>
              <a:effectLst/>
              <a:uLnTx/>
              <a:uFillTx/>
              <a:latin typeface="Calibri" panose="020F0502020204030204"/>
              <a:ea typeface="+mn-ea"/>
              <a:cs typeface="+mn-cs"/>
            </a:endParaRPr>
          </a:p>
        </p:txBody>
      </p:sp>
      <p:grpSp>
        <p:nvGrpSpPr>
          <p:cNvPr id="137" name="Clock5" descr="{&quot;Key&quot;:&quot;POWER_USER_SHAPE_ICON&quot;,&quot;Value&quot;:&quot;POWER_USER_SHAPE_ICON_STYLE_1&quot;}"/>
          <p:cNvGrpSpPr>
            <a:grpSpLocks noChangeAspect="1"/>
          </p:cNvGrpSpPr>
          <p:nvPr>
            <p:custDataLst>
              <p:tags r:id="rId1"/>
            </p:custDataLst>
          </p:nvPr>
        </p:nvGrpSpPr>
        <p:grpSpPr>
          <a:xfrm>
            <a:off x="1971687" y="2155973"/>
            <a:ext cx="814388" cy="814388"/>
            <a:chOff x="14870112" y="2760662"/>
            <a:chExt cx="381000" cy="381000"/>
          </a:xfrm>
          <a:solidFill>
            <a:schemeClr val="bg1"/>
          </a:solidFill>
        </p:grpSpPr>
        <p:sp>
          <p:nvSpPr>
            <p:cNvPr id="138" name="Freeform 551"/>
            <p:cNvSpPr/>
            <p:nvPr/>
          </p:nvSpPr>
          <p:spPr bwMode="auto">
            <a:xfrm>
              <a:off x="15055850" y="2855912"/>
              <a:ext cx="9525" cy="101600"/>
            </a:xfrm>
            <a:custGeom>
              <a:avLst/>
              <a:gdLst>
                <a:gd name="T0" fmla="*/ 50 w 101"/>
                <a:gd name="T1" fmla="*/ 968 h 968"/>
                <a:gd name="T2" fmla="*/ 50 w 101"/>
                <a:gd name="T3" fmla="*/ 968 h 968"/>
                <a:gd name="T4" fmla="*/ 0 w 101"/>
                <a:gd name="T5" fmla="*/ 918 h 968"/>
                <a:gd name="T6" fmla="*/ 1 w 101"/>
                <a:gd name="T7" fmla="*/ 50 h 968"/>
                <a:gd name="T8" fmla="*/ 51 w 101"/>
                <a:gd name="T9" fmla="*/ 0 h 968"/>
                <a:gd name="T10" fmla="*/ 51 w 101"/>
                <a:gd name="T11" fmla="*/ 0 h 968"/>
                <a:gd name="T12" fmla="*/ 101 w 101"/>
                <a:gd name="T13" fmla="*/ 50 h 968"/>
                <a:gd name="T14" fmla="*/ 100 w 101"/>
                <a:gd name="T15" fmla="*/ 918 h 968"/>
                <a:gd name="T16" fmla="*/ 50 w 101"/>
                <a:gd name="T17" fmla="*/ 96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968">
                  <a:moveTo>
                    <a:pt x="50" y="968"/>
                  </a:moveTo>
                  <a:lnTo>
                    <a:pt x="50" y="968"/>
                  </a:lnTo>
                  <a:cubicBezTo>
                    <a:pt x="22" y="968"/>
                    <a:pt x="0" y="945"/>
                    <a:pt x="0" y="918"/>
                  </a:cubicBezTo>
                  <a:lnTo>
                    <a:pt x="1" y="50"/>
                  </a:lnTo>
                  <a:cubicBezTo>
                    <a:pt x="1" y="22"/>
                    <a:pt x="23" y="0"/>
                    <a:pt x="51" y="0"/>
                  </a:cubicBezTo>
                  <a:lnTo>
                    <a:pt x="51" y="0"/>
                  </a:lnTo>
                  <a:cubicBezTo>
                    <a:pt x="79" y="0"/>
                    <a:pt x="101" y="22"/>
                    <a:pt x="101" y="50"/>
                  </a:cubicBezTo>
                  <a:lnTo>
                    <a:pt x="100" y="918"/>
                  </a:lnTo>
                  <a:cubicBezTo>
                    <a:pt x="100" y="945"/>
                    <a:pt x="77" y="968"/>
                    <a:pt x="50" y="96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37160" tIns="68580" rIns="137160" bIns="6858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552"/>
            <p:cNvSpPr/>
            <p:nvPr/>
          </p:nvSpPr>
          <p:spPr bwMode="auto">
            <a:xfrm>
              <a:off x="15055850" y="2946400"/>
              <a:ext cx="92075" cy="92075"/>
            </a:xfrm>
            <a:custGeom>
              <a:avLst/>
              <a:gdLst>
                <a:gd name="T0" fmla="*/ 830 w 885"/>
                <a:gd name="T1" fmla="*/ 880 h 880"/>
                <a:gd name="T2" fmla="*/ 795 w 885"/>
                <a:gd name="T3" fmla="*/ 865 h 880"/>
                <a:gd name="T4" fmla="*/ 20 w 885"/>
                <a:gd name="T5" fmla="*/ 90 h 880"/>
                <a:gd name="T6" fmla="*/ 20 w 885"/>
                <a:gd name="T7" fmla="*/ 19 h 880"/>
                <a:gd name="T8" fmla="*/ 90 w 885"/>
                <a:gd name="T9" fmla="*/ 19 h 880"/>
                <a:gd name="T10" fmla="*/ 865 w 885"/>
                <a:gd name="T11" fmla="*/ 794 h 880"/>
                <a:gd name="T12" fmla="*/ 865 w 885"/>
                <a:gd name="T13" fmla="*/ 865 h 880"/>
                <a:gd name="T14" fmla="*/ 830 w 885"/>
                <a:gd name="T15" fmla="*/ 880 h 8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5" h="880">
                  <a:moveTo>
                    <a:pt x="830" y="880"/>
                  </a:moveTo>
                  <a:cubicBezTo>
                    <a:pt x="817" y="880"/>
                    <a:pt x="804" y="875"/>
                    <a:pt x="795" y="865"/>
                  </a:cubicBezTo>
                  <a:lnTo>
                    <a:pt x="20" y="90"/>
                  </a:lnTo>
                  <a:cubicBezTo>
                    <a:pt x="0" y="71"/>
                    <a:pt x="0" y="39"/>
                    <a:pt x="20" y="19"/>
                  </a:cubicBezTo>
                  <a:cubicBezTo>
                    <a:pt x="39" y="0"/>
                    <a:pt x="71" y="0"/>
                    <a:pt x="90" y="19"/>
                  </a:cubicBezTo>
                  <a:lnTo>
                    <a:pt x="865" y="794"/>
                  </a:lnTo>
                  <a:cubicBezTo>
                    <a:pt x="885" y="814"/>
                    <a:pt x="885" y="846"/>
                    <a:pt x="865" y="865"/>
                  </a:cubicBezTo>
                  <a:cubicBezTo>
                    <a:pt x="856" y="875"/>
                    <a:pt x="843" y="880"/>
                    <a:pt x="830" y="88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37160" tIns="68580" rIns="137160" bIns="6858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553"/>
            <p:cNvSpPr>
              <a:spLocks noEditPoints="1"/>
            </p:cNvSpPr>
            <p:nvPr/>
          </p:nvSpPr>
          <p:spPr bwMode="auto">
            <a:xfrm>
              <a:off x="14900275" y="2790825"/>
              <a:ext cx="322263" cy="322263"/>
            </a:xfrm>
            <a:custGeom>
              <a:avLst/>
              <a:gdLst>
                <a:gd name="T0" fmla="*/ 1542 w 3083"/>
                <a:gd name="T1" fmla="*/ 3083 h 3083"/>
                <a:gd name="T2" fmla="*/ 0 w 3083"/>
                <a:gd name="T3" fmla="*/ 1542 h 3083"/>
                <a:gd name="T4" fmla="*/ 1542 w 3083"/>
                <a:gd name="T5" fmla="*/ 0 h 3083"/>
                <a:gd name="T6" fmla="*/ 3083 w 3083"/>
                <a:gd name="T7" fmla="*/ 1542 h 3083"/>
                <a:gd name="T8" fmla="*/ 1542 w 3083"/>
                <a:gd name="T9" fmla="*/ 3083 h 3083"/>
                <a:gd name="T10" fmla="*/ 1542 w 3083"/>
                <a:gd name="T11" fmla="*/ 100 h 3083"/>
                <a:gd name="T12" fmla="*/ 100 w 3083"/>
                <a:gd name="T13" fmla="*/ 1542 h 3083"/>
                <a:gd name="T14" fmla="*/ 1542 w 3083"/>
                <a:gd name="T15" fmla="*/ 2983 h 3083"/>
                <a:gd name="T16" fmla="*/ 2983 w 3083"/>
                <a:gd name="T17" fmla="*/ 1542 h 3083"/>
                <a:gd name="T18" fmla="*/ 1542 w 3083"/>
                <a:gd name="T19" fmla="*/ 100 h 30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83" h="3083">
                  <a:moveTo>
                    <a:pt x="1542" y="3083"/>
                  </a:moveTo>
                  <a:cubicBezTo>
                    <a:pt x="692" y="3083"/>
                    <a:pt x="0" y="2392"/>
                    <a:pt x="0" y="1542"/>
                  </a:cubicBezTo>
                  <a:cubicBezTo>
                    <a:pt x="0" y="692"/>
                    <a:pt x="692" y="0"/>
                    <a:pt x="1542" y="0"/>
                  </a:cubicBezTo>
                  <a:cubicBezTo>
                    <a:pt x="2392" y="0"/>
                    <a:pt x="3083" y="692"/>
                    <a:pt x="3083" y="1542"/>
                  </a:cubicBezTo>
                  <a:cubicBezTo>
                    <a:pt x="3083" y="2392"/>
                    <a:pt x="2392" y="3083"/>
                    <a:pt x="1542" y="3083"/>
                  </a:cubicBezTo>
                  <a:close/>
                  <a:moveTo>
                    <a:pt x="1542" y="100"/>
                  </a:moveTo>
                  <a:cubicBezTo>
                    <a:pt x="747" y="100"/>
                    <a:pt x="100" y="747"/>
                    <a:pt x="100" y="1542"/>
                  </a:cubicBezTo>
                  <a:cubicBezTo>
                    <a:pt x="100" y="2337"/>
                    <a:pt x="747" y="2983"/>
                    <a:pt x="1542" y="2983"/>
                  </a:cubicBezTo>
                  <a:cubicBezTo>
                    <a:pt x="2337" y="2983"/>
                    <a:pt x="2983" y="2337"/>
                    <a:pt x="2983" y="1542"/>
                  </a:cubicBezTo>
                  <a:cubicBezTo>
                    <a:pt x="2983" y="747"/>
                    <a:pt x="2337" y="100"/>
                    <a:pt x="1542"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37160" tIns="68580" rIns="137160" bIns="6858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554"/>
            <p:cNvSpPr>
              <a:spLocks noEditPoints="1"/>
            </p:cNvSpPr>
            <p:nvPr/>
          </p:nvSpPr>
          <p:spPr bwMode="auto">
            <a:xfrm>
              <a:off x="14870112" y="2760662"/>
              <a:ext cx="381000" cy="381000"/>
            </a:xfrm>
            <a:custGeom>
              <a:avLst/>
              <a:gdLst>
                <a:gd name="T0" fmla="*/ 1818 w 3636"/>
                <a:gd name="T1" fmla="*/ 3637 h 3637"/>
                <a:gd name="T2" fmla="*/ 0 w 3636"/>
                <a:gd name="T3" fmla="*/ 1819 h 3637"/>
                <a:gd name="T4" fmla="*/ 1818 w 3636"/>
                <a:gd name="T5" fmla="*/ 0 h 3637"/>
                <a:gd name="T6" fmla="*/ 3636 w 3636"/>
                <a:gd name="T7" fmla="*/ 1819 h 3637"/>
                <a:gd name="T8" fmla="*/ 1818 w 3636"/>
                <a:gd name="T9" fmla="*/ 3637 h 3637"/>
                <a:gd name="T10" fmla="*/ 1818 w 3636"/>
                <a:gd name="T11" fmla="*/ 100 h 3637"/>
                <a:gd name="T12" fmla="*/ 100 w 3636"/>
                <a:gd name="T13" fmla="*/ 1819 h 3637"/>
                <a:gd name="T14" fmla="*/ 1818 w 3636"/>
                <a:gd name="T15" fmla="*/ 3537 h 3637"/>
                <a:gd name="T16" fmla="*/ 3536 w 3636"/>
                <a:gd name="T17" fmla="*/ 1819 h 3637"/>
                <a:gd name="T18" fmla="*/ 1818 w 3636"/>
                <a:gd name="T19" fmla="*/ 100 h 3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36" h="3637">
                  <a:moveTo>
                    <a:pt x="1818" y="3637"/>
                  </a:moveTo>
                  <a:cubicBezTo>
                    <a:pt x="815" y="3637"/>
                    <a:pt x="0" y="2821"/>
                    <a:pt x="0" y="1819"/>
                  </a:cubicBezTo>
                  <a:cubicBezTo>
                    <a:pt x="0" y="816"/>
                    <a:pt x="815" y="0"/>
                    <a:pt x="1818" y="0"/>
                  </a:cubicBezTo>
                  <a:cubicBezTo>
                    <a:pt x="2821" y="0"/>
                    <a:pt x="3636" y="816"/>
                    <a:pt x="3636" y="1819"/>
                  </a:cubicBezTo>
                  <a:cubicBezTo>
                    <a:pt x="3636" y="2821"/>
                    <a:pt x="2821" y="3637"/>
                    <a:pt x="1818" y="3637"/>
                  </a:cubicBezTo>
                  <a:close/>
                  <a:moveTo>
                    <a:pt x="1818" y="100"/>
                  </a:moveTo>
                  <a:cubicBezTo>
                    <a:pt x="870" y="100"/>
                    <a:pt x="100" y="871"/>
                    <a:pt x="100" y="1819"/>
                  </a:cubicBezTo>
                  <a:cubicBezTo>
                    <a:pt x="100" y="2766"/>
                    <a:pt x="870" y="3537"/>
                    <a:pt x="1818" y="3537"/>
                  </a:cubicBezTo>
                  <a:cubicBezTo>
                    <a:pt x="2765" y="3537"/>
                    <a:pt x="3536" y="2766"/>
                    <a:pt x="3536" y="1819"/>
                  </a:cubicBezTo>
                  <a:cubicBezTo>
                    <a:pt x="3536" y="871"/>
                    <a:pt x="2765" y="100"/>
                    <a:pt x="181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37160" tIns="68580" rIns="137160" bIns="6858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42" name="Contact3" descr="{&quot;Key&quot;:&quot;POWER_USER_SHAPE_ICON&quot;,&quot;Value&quot;:&quot;POWER_USER_SHAPE_ICON_STYLE_1&quot;}"/>
          <p:cNvSpPr>
            <a:spLocks noChangeAspect="1" noChangeArrowheads="1"/>
          </p:cNvSpPr>
          <p:nvPr>
            <p:custDataLst>
              <p:tags r:id="rId2"/>
            </p:custDataLst>
          </p:nvPr>
        </p:nvSpPr>
        <p:spPr bwMode="auto">
          <a:xfrm>
            <a:off x="7340000" y="2142954"/>
            <a:ext cx="814388" cy="814388"/>
          </a:xfrm>
          <a:custGeom>
            <a:avLst/>
            <a:gdLst>
              <a:gd name="T0" fmla="*/ 216 w 433"/>
              <a:gd name="T1" fmla="*/ 216 h 433"/>
              <a:gd name="T2" fmla="*/ 324 w 433"/>
              <a:gd name="T3" fmla="*/ 108 h 433"/>
              <a:gd name="T4" fmla="*/ 216 w 433"/>
              <a:gd name="T5" fmla="*/ 0 h 433"/>
              <a:gd name="T6" fmla="*/ 108 w 433"/>
              <a:gd name="T7" fmla="*/ 108 h 433"/>
              <a:gd name="T8" fmla="*/ 216 w 433"/>
              <a:gd name="T9" fmla="*/ 216 h 433"/>
              <a:gd name="T10" fmla="*/ 216 w 433"/>
              <a:gd name="T11" fmla="*/ 267 h 433"/>
              <a:gd name="T12" fmla="*/ 0 w 433"/>
              <a:gd name="T13" fmla="*/ 375 h 433"/>
              <a:gd name="T14" fmla="*/ 0 w 433"/>
              <a:gd name="T15" fmla="*/ 432 h 433"/>
              <a:gd name="T16" fmla="*/ 432 w 433"/>
              <a:gd name="T17" fmla="*/ 432 h 433"/>
              <a:gd name="T18" fmla="*/ 432 w 433"/>
              <a:gd name="T19" fmla="*/ 375 h 433"/>
              <a:gd name="T20" fmla="*/ 216 w 433"/>
              <a:gd name="T21" fmla="*/ 26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3" h="433">
                <a:moveTo>
                  <a:pt x="216" y="216"/>
                </a:moveTo>
                <a:cubicBezTo>
                  <a:pt x="272" y="216"/>
                  <a:pt x="324" y="167"/>
                  <a:pt x="324" y="108"/>
                </a:cubicBezTo>
                <a:cubicBezTo>
                  <a:pt x="324" y="49"/>
                  <a:pt x="275" y="0"/>
                  <a:pt x="216" y="0"/>
                </a:cubicBezTo>
                <a:cubicBezTo>
                  <a:pt x="157" y="0"/>
                  <a:pt x="108" y="49"/>
                  <a:pt x="108" y="108"/>
                </a:cubicBezTo>
                <a:cubicBezTo>
                  <a:pt x="108" y="167"/>
                  <a:pt x="154" y="216"/>
                  <a:pt x="216" y="216"/>
                </a:cubicBezTo>
                <a:close/>
                <a:moveTo>
                  <a:pt x="216" y="267"/>
                </a:moveTo>
                <a:cubicBezTo>
                  <a:pt x="144" y="267"/>
                  <a:pt x="0" y="303"/>
                  <a:pt x="0" y="375"/>
                </a:cubicBezTo>
                <a:lnTo>
                  <a:pt x="0" y="432"/>
                </a:lnTo>
                <a:lnTo>
                  <a:pt x="432" y="432"/>
                </a:lnTo>
                <a:lnTo>
                  <a:pt x="432" y="375"/>
                </a:lnTo>
                <a:cubicBezTo>
                  <a:pt x="432" y="303"/>
                  <a:pt x="288" y="267"/>
                  <a:pt x="216" y="267"/>
                </a:cubicBezTo>
                <a:close/>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Location2" descr="{&quot;Key&quot;:&quot;POWER_USER_SHAPE_ICON&quot;,&quot;Value&quot;:&quot;POWER_USER_SHAPE_ICON_STYLE_1&quot;}"/>
          <p:cNvSpPr>
            <a:spLocks noChangeAspect="1" noChangeArrowheads="1"/>
          </p:cNvSpPr>
          <p:nvPr>
            <p:custDataLst>
              <p:tags r:id="rId3"/>
            </p:custDataLst>
          </p:nvPr>
        </p:nvSpPr>
        <p:spPr bwMode="auto">
          <a:xfrm>
            <a:off x="4792166" y="2193495"/>
            <a:ext cx="572010" cy="814388"/>
          </a:xfrm>
          <a:custGeom>
            <a:avLst/>
            <a:gdLst>
              <a:gd name="T0" fmla="*/ 261 w 522"/>
              <a:gd name="T1" fmla="*/ 0 h 741"/>
              <a:gd name="T2" fmla="*/ 0 w 522"/>
              <a:gd name="T3" fmla="*/ 261 h 741"/>
              <a:gd name="T4" fmla="*/ 261 w 522"/>
              <a:gd name="T5" fmla="*/ 740 h 741"/>
              <a:gd name="T6" fmla="*/ 521 w 522"/>
              <a:gd name="T7" fmla="*/ 261 h 741"/>
              <a:gd name="T8" fmla="*/ 261 w 522"/>
              <a:gd name="T9" fmla="*/ 0 h 741"/>
              <a:gd name="T10" fmla="*/ 261 w 522"/>
              <a:gd name="T11" fmla="*/ 353 h 741"/>
              <a:gd name="T12" fmla="*/ 169 w 522"/>
              <a:gd name="T13" fmla="*/ 261 h 741"/>
              <a:gd name="T14" fmla="*/ 261 w 522"/>
              <a:gd name="T15" fmla="*/ 170 h 741"/>
              <a:gd name="T16" fmla="*/ 352 w 522"/>
              <a:gd name="T17" fmla="*/ 261 h 741"/>
              <a:gd name="T18" fmla="*/ 261 w 522"/>
              <a:gd name="T19" fmla="*/ 353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2" h="741">
                <a:moveTo>
                  <a:pt x="261" y="0"/>
                </a:moveTo>
                <a:cubicBezTo>
                  <a:pt x="120" y="0"/>
                  <a:pt x="0" y="113"/>
                  <a:pt x="0" y="261"/>
                </a:cubicBezTo>
                <a:cubicBezTo>
                  <a:pt x="0" y="451"/>
                  <a:pt x="261" y="740"/>
                  <a:pt x="261" y="740"/>
                </a:cubicBezTo>
                <a:cubicBezTo>
                  <a:pt x="261" y="740"/>
                  <a:pt x="521" y="451"/>
                  <a:pt x="521" y="261"/>
                </a:cubicBezTo>
                <a:cubicBezTo>
                  <a:pt x="521" y="113"/>
                  <a:pt x="402" y="0"/>
                  <a:pt x="261" y="0"/>
                </a:cubicBezTo>
                <a:close/>
                <a:moveTo>
                  <a:pt x="261" y="353"/>
                </a:moveTo>
                <a:cubicBezTo>
                  <a:pt x="211" y="353"/>
                  <a:pt x="169" y="314"/>
                  <a:pt x="169" y="261"/>
                </a:cubicBezTo>
                <a:cubicBezTo>
                  <a:pt x="169" y="208"/>
                  <a:pt x="211" y="170"/>
                  <a:pt x="261" y="170"/>
                </a:cubicBezTo>
                <a:cubicBezTo>
                  <a:pt x="310" y="170"/>
                  <a:pt x="352" y="208"/>
                  <a:pt x="352" y="261"/>
                </a:cubicBezTo>
                <a:cubicBezTo>
                  <a:pt x="352" y="314"/>
                  <a:pt x="310" y="353"/>
                  <a:pt x="261" y="353"/>
                </a:cubicBez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Roots2" descr="{&quot;Key&quot;:&quot;POWER_USER_SHAPE_ICON&quot;,&quot;Value&quot;:&quot;POWER_USER_SHAPE_ICON_STYLE_1&quot;}"/>
          <p:cNvSpPr>
            <a:spLocks noChangeAspect="1" noEditPoints="1"/>
          </p:cNvSpPr>
          <p:nvPr>
            <p:custDataLst>
              <p:tags r:id="rId4"/>
            </p:custDataLst>
          </p:nvPr>
        </p:nvSpPr>
        <p:spPr bwMode="auto">
          <a:xfrm>
            <a:off x="10175898" y="2241618"/>
            <a:ext cx="705005" cy="814388"/>
          </a:xfrm>
          <a:custGeom>
            <a:avLst/>
            <a:gdLst>
              <a:gd name="T0" fmla="*/ 5196 w 12717"/>
              <a:gd name="T1" fmla="*/ 9061 h 14693"/>
              <a:gd name="T2" fmla="*/ 2708 w 12717"/>
              <a:gd name="T3" fmla="*/ 9779 h 14693"/>
              <a:gd name="T4" fmla="*/ 2992 w 12717"/>
              <a:gd name="T5" fmla="*/ 11003 h 14693"/>
              <a:gd name="T6" fmla="*/ 4435 w 12717"/>
              <a:gd name="T7" fmla="*/ 10886 h 14693"/>
              <a:gd name="T8" fmla="*/ 3754 w 12717"/>
              <a:gd name="T9" fmla="*/ 14001 h 14693"/>
              <a:gd name="T10" fmla="*/ 5441 w 12717"/>
              <a:gd name="T11" fmla="*/ 13691 h 14693"/>
              <a:gd name="T12" fmla="*/ 6684 w 12717"/>
              <a:gd name="T13" fmla="*/ 14002 h 14693"/>
              <a:gd name="T14" fmla="*/ 6803 w 12717"/>
              <a:gd name="T15" fmla="*/ 13622 h 14693"/>
              <a:gd name="T16" fmla="*/ 6427 w 12717"/>
              <a:gd name="T17" fmla="*/ 11777 h 14693"/>
              <a:gd name="T18" fmla="*/ 7046 w 12717"/>
              <a:gd name="T19" fmla="*/ 10795 h 14693"/>
              <a:gd name="T20" fmla="*/ 9351 w 12717"/>
              <a:gd name="T21" fmla="*/ 11925 h 14693"/>
              <a:gd name="T22" fmla="*/ 10339 w 12717"/>
              <a:gd name="T23" fmla="*/ 12138 h 14693"/>
              <a:gd name="T24" fmla="*/ 8779 w 12717"/>
              <a:gd name="T25" fmla="*/ 10100 h 14693"/>
              <a:gd name="T26" fmla="*/ 379 w 12717"/>
              <a:gd name="T27" fmla="*/ 8015 h 14693"/>
              <a:gd name="T28" fmla="*/ 11408 w 12717"/>
              <a:gd name="T29" fmla="*/ 2957 h 14693"/>
              <a:gd name="T30" fmla="*/ 413 w 12717"/>
              <a:gd name="T31" fmla="*/ 5719 h 14693"/>
              <a:gd name="T32" fmla="*/ 1433 w 12717"/>
              <a:gd name="T33" fmla="*/ 6527 h 14693"/>
              <a:gd name="T34" fmla="*/ 2695 w 12717"/>
              <a:gd name="T35" fmla="*/ 6719 h 14693"/>
              <a:gd name="T36" fmla="*/ 5400 w 12717"/>
              <a:gd name="T37" fmla="*/ 7693 h 14693"/>
              <a:gd name="T38" fmla="*/ 2292 w 12717"/>
              <a:gd name="T39" fmla="*/ 5811 h 14693"/>
              <a:gd name="T40" fmla="*/ 2552 w 12717"/>
              <a:gd name="T41" fmla="*/ 4640 h 14693"/>
              <a:gd name="T42" fmla="*/ 4275 w 12717"/>
              <a:gd name="T43" fmla="*/ 5323 h 14693"/>
              <a:gd name="T44" fmla="*/ 2582 w 12717"/>
              <a:gd name="T45" fmla="*/ 3555 h 14693"/>
              <a:gd name="T46" fmla="*/ 4365 w 12717"/>
              <a:gd name="T47" fmla="*/ 3636 h 14693"/>
              <a:gd name="T48" fmla="*/ 5452 w 12717"/>
              <a:gd name="T49" fmla="*/ 4748 h 14693"/>
              <a:gd name="T50" fmla="*/ 5443 w 12717"/>
              <a:gd name="T51" fmla="*/ 3399 h 14693"/>
              <a:gd name="T52" fmla="*/ 4716 w 12717"/>
              <a:gd name="T53" fmla="*/ 2465 h 14693"/>
              <a:gd name="T54" fmla="*/ 5658 w 12717"/>
              <a:gd name="T55" fmla="*/ 2359 h 14693"/>
              <a:gd name="T56" fmla="*/ 7143 w 12717"/>
              <a:gd name="T57" fmla="*/ 3839 h 14693"/>
              <a:gd name="T58" fmla="*/ 5695 w 12717"/>
              <a:gd name="T59" fmla="*/ 1726 h 14693"/>
              <a:gd name="T60" fmla="*/ 6825 w 12717"/>
              <a:gd name="T61" fmla="*/ 2226 h 14693"/>
              <a:gd name="T62" fmla="*/ 8104 w 12717"/>
              <a:gd name="T63" fmla="*/ 2547 h 14693"/>
              <a:gd name="T64" fmla="*/ 8964 w 12717"/>
              <a:gd name="T65" fmla="*/ 2544 h 14693"/>
              <a:gd name="T66" fmla="*/ 8315 w 12717"/>
              <a:gd name="T67" fmla="*/ 2888 h 14693"/>
              <a:gd name="T68" fmla="*/ 9410 w 12717"/>
              <a:gd name="T69" fmla="*/ 3444 h 14693"/>
              <a:gd name="T70" fmla="*/ 8767 w 12717"/>
              <a:gd name="T71" fmla="*/ 4963 h 14693"/>
              <a:gd name="T72" fmla="*/ 10747 w 12717"/>
              <a:gd name="T73" fmla="*/ 5015 h 14693"/>
              <a:gd name="T74" fmla="*/ 7016 w 12717"/>
              <a:gd name="T75" fmla="*/ 6214 h 14693"/>
              <a:gd name="T76" fmla="*/ 8972 w 12717"/>
              <a:gd name="T77" fmla="*/ 6347 h 14693"/>
              <a:gd name="T78" fmla="*/ 10021 w 12717"/>
              <a:gd name="T79" fmla="*/ 6683 h 14693"/>
              <a:gd name="T80" fmla="*/ 11517 w 12717"/>
              <a:gd name="T81" fmla="*/ 6527 h 14693"/>
              <a:gd name="T82" fmla="*/ 12248 w 12717"/>
              <a:gd name="T83" fmla="*/ 5904 h 14693"/>
              <a:gd name="T84" fmla="*/ 12184 w 12717"/>
              <a:gd name="T85" fmla="*/ 5157 h 14693"/>
              <a:gd name="T86" fmla="*/ 12121 w 12717"/>
              <a:gd name="T87" fmla="*/ 4115 h 14693"/>
              <a:gd name="T88" fmla="*/ 11688 w 12717"/>
              <a:gd name="T89" fmla="*/ 3216 h 14693"/>
              <a:gd name="T90" fmla="*/ 10922 w 12717"/>
              <a:gd name="T91" fmla="*/ 2865 h 14693"/>
              <a:gd name="T92" fmla="*/ 10563 w 12717"/>
              <a:gd name="T93" fmla="*/ 2129 h 14693"/>
              <a:gd name="T94" fmla="*/ 9922 w 12717"/>
              <a:gd name="T95" fmla="*/ 1696 h 14693"/>
              <a:gd name="T96" fmla="*/ 9244 w 12717"/>
              <a:gd name="T97" fmla="*/ 1360 h 14693"/>
              <a:gd name="T98" fmla="*/ 8313 w 12717"/>
              <a:gd name="T99" fmla="*/ 660 h 14693"/>
              <a:gd name="T100" fmla="*/ 7253 w 12717"/>
              <a:gd name="T101" fmla="*/ 715 h 14693"/>
              <a:gd name="T102" fmla="*/ 6458 w 12717"/>
              <a:gd name="T103" fmla="*/ 403 h 14693"/>
              <a:gd name="T104" fmla="*/ 5027 w 12717"/>
              <a:gd name="T105" fmla="*/ 197 h 14693"/>
              <a:gd name="T106" fmla="*/ 3880 w 12717"/>
              <a:gd name="T107" fmla="*/ 789 h 14693"/>
              <a:gd name="T108" fmla="*/ 2690 w 12717"/>
              <a:gd name="T109" fmla="*/ 1347 h 14693"/>
              <a:gd name="T110" fmla="*/ 1702 w 12717"/>
              <a:gd name="T111" fmla="*/ 2395 h 14693"/>
              <a:gd name="T112" fmla="*/ 1069 w 12717"/>
              <a:gd name="T113" fmla="*/ 3312 h 14693"/>
              <a:gd name="T114" fmla="*/ 397 w 12717"/>
              <a:gd name="T115" fmla="*/ 4049 h 14693"/>
              <a:gd name="T116" fmla="*/ 157 w 12717"/>
              <a:gd name="T117" fmla="*/ 5112 h 14693"/>
              <a:gd name="T118" fmla="*/ 904 w 12717"/>
              <a:gd name="T119" fmla="*/ 3595 h 14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717" h="14693">
                <a:moveTo>
                  <a:pt x="10744" y="9723"/>
                </a:moveTo>
                <a:cubicBezTo>
                  <a:pt x="11546" y="9834"/>
                  <a:pt x="11727" y="10440"/>
                  <a:pt x="11752" y="10479"/>
                </a:cubicBezTo>
                <a:cubicBezTo>
                  <a:pt x="11736" y="10434"/>
                  <a:pt x="11653" y="9773"/>
                  <a:pt x="10784" y="9538"/>
                </a:cubicBezTo>
                <a:cubicBezTo>
                  <a:pt x="10741" y="9524"/>
                  <a:pt x="10697" y="9513"/>
                  <a:pt x="10652" y="9503"/>
                </a:cubicBezTo>
                <a:cubicBezTo>
                  <a:pt x="11144" y="9181"/>
                  <a:pt x="11657" y="9230"/>
                  <a:pt x="11643" y="9236"/>
                </a:cubicBezTo>
                <a:cubicBezTo>
                  <a:pt x="11670" y="9233"/>
                  <a:pt x="11075" y="9071"/>
                  <a:pt x="10508" y="9478"/>
                </a:cubicBezTo>
                <a:cubicBezTo>
                  <a:pt x="9898" y="9402"/>
                  <a:pt x="9180" y="9659"/>
                  <a:pt x="8453" y="9654"/>
                </a:cubicBezTo>
                <a:cubicBezTo>
                  <a:pt x="7912" y="9552"/>
                  <a:pt x="7328" y="9416"/>
                  <a:pt x="7158" y="8908"/>
                </a:cubicBezTo>
                <a:cubicBezTo>
                  <a:pt x="7152" y="8891"/>
                  <a:pt x="7149" y="8873"/>
                  <a:pt x="7143" y="8855"/>
                </a:cubicBezTo>
                <a:lnTo>
                  <a:pt x="5291" y="8855"/>
                </a:lnTo>
                <a:cubicBezTo>
                  <a:pt x="5265" y="8927"/>
                  <a:pt x="5235" y="8996"/>
                  <a:pt x="5196" y="9061"/>
                </a:cubicBezTo>
                <a:cubicBezTo>
                  <a:pt x="5061" y="9281"/>
                  <a:pt x="4864" y="9449"/>
                  <a:pt x="4640" y="9585"/>
                </a:cubicBezTo>
                <a:cubicBezTo>
                  <a:pt x="3645" y="9834"/>
                  <a:pt x="2615" y="9295"/>
                  <a:pt x="1814" y="9521"/>
                </a:cubicBezTo>
                <a:cubicBezTo>
                  <a:pt x="1109" y="9227"/>
                  <a:pt x="535" y="9586"/>
                  <a:pt x="563" y="9582"/>
                </a:cubicBezTo>
                <a:cubicBezTo>
                  <a:pt x="548" y="9580"/>
                  <a:pt x="1060" y="9369"/>
                  <a:pt x="1651" y="9570"/>
                </a:cubicBezTo>
                <a:cubicBezTo>
                  <a:pt x="876" y="9827"/>
                  <a:pt x="798" y="10436"/>
                  <a:pt x="782" y="10479"/>
                </a:cubicBezTo>
                <a:cubicBezTo>
                  <a:pt x="807" y="10440"/>
                  <a:pt x="988" y="9834"/>
                  <a:pt x="1790" y="9723"/>
                </a:cubicBezTo>
                <a:cubicBezTo>
                  <a:pt x="1994" y="9664"/>
                  <a:pt x="2224" y="9682"/>
                  <a:pt x="2476" y="9729"/>
                </a:cubicBezTo>
                <a:cubicBezTo>
                  <a:pt x="2074" y="10123"/>
                  <a:pt x="1448" y="10195"/>
                  <a:pt x="1161" y="10552"/>
                </a:cubicBezTo>
                <a:cubicBezTo>
                  <a:pt x="832" y="10924"/>
                  <a:pt x="994" y="11254"/>
                  <a:pt x="1000" y="11280"/>
                </a:cubicBezTo>
                <a:cubicBezTo>
                  <a:pt x="1000" y="11254"/>
                  <a:pt x="900" y="10920"/>
                  <a:pt x="1235" y="10625"/>
                </a:cubicBezTo>
                <a:cubicBezTo>
                  <a:pt x="1514" y="10313"/>
                  <a:pt x="2222" y="10331"/>
                  <a:pt x="2708" y="9779"/>
                </a:cubicBezTo>
                <a:cubicBezTo>
                  <a:pt x="3017" y="9850"/>
                  <a:pt x="3355" y="9941"/>
                  <a:pt x="3721" y="9985"/>
                </a:cubicBezTo>
                <a:cubicBezTo>
                  <a:pt x="3569" y="10037"/>
                  <a:pt x="3421" y="10086"/>
                  <a:pt x="3285" y="10136"/>
                </a:cubicBezTo>
                <a:cubicBezTo>
                  <a:pt x="1882" y="10513"/>
                  <a:pt x="1329" y="11339"/>
                  <a:pt x="1377" y="11338"/>
                </a:cubicBezTo>
                <a:cubicBezTo>
                  <a:pt x="1357" y="11318"/>
                  <a:pt x="1911" y="10758"/>
                  <a:pt x="3123" y="10541"/>
                </a:cubicBezTo>
                <a:cubicBezTo>
                  <a:pt x="2928" y="10863"/>
                  <a:pt x="2602" y="11075"/>
                  <a:pt x="2357" y="11309"/>
                </a:cubicBezTo>
                <a:cubicBezTo>
                  <a:pt x="1651" y="11541"/>
                  <a:pt x="1442" y="12159"/>
                  <a:pt x="1452" y="12135"/>
                </a:cubicBezTo>
                <a:cubicBezTo>
                  <a:pt x="1448" y="12145"/>
                  <a:pt x="1681" y="11712"/>
                  <a:pt x="2203" y="11478"/>
                </a:cubicBezTo>
                <a:cubicBezTo>
                  <a:pt x="2157" y="11537"/>
                  <a:pt x="2118" y="11598"/>
                  <a:pt x="2089" y="11664"/>
                </a:cubicBezTo>
                <a:cubicBezTo>
                  <a:pt x="1872" y="12111"/>
                  <a:pt x="2116" y="12385"/>
                  <a:pt x="2129" y="12408"/>
                </a:cubicBezTo>
                <a:cubicBezTo>
                  <a:pt x="2122" y="12384"/>
                  <a:pt x="1935" y="12089"/>
                  <a:pt x="2180" y="11715"/>
                </a:cubicBezTo>
                <a:cubicBezTo>
                  <a:pt x="2308" y="11456"/>
                  <a:pt x="2672" y="11294"/>
                  <a:pt x="2992" y="11003"/>
                </a:cubicBezTo>
                <a:cubicBezTo>
                  <a:pt x="2912" y="11846"/>
                  <a:pt x="2357" y="12356"/>
                  <a:pt x="2363" y="12336"/>
                </a:cubicBezTo>
                <a:cubicBezTo>
                  <a:pt x="2342" y="12367"/>
                  <a:pt x="3102" y="11875"/>
                  <a:pt x="3138" y="10855"/>
                </a:cubicBezTo>
                <a:cubicBezTo>
                  <a:pt x="3228" y="10754"/>
                  <a:pt x="3309" y="10639"/>
                  <a:pt x="3375" y="10502"/>
                </a:cubicBezTo>
                <a:cubicBezTo>
                  <a:pt x="3378" y="10502"/>
                  <a:pt x="3381" y="10501"/>
                  <a:pt x="3384" y="10501"/>
                </a:cubicBezTo>
                <a:cubicBezTo>
                  <a:pt x="3842" y="10380"/>
                  <a:pt x="4469" y="10338"/>
                  <a:pt x="5057" y="9993"/>
                </a:cubicBezTo>
                <a:cubicBezTo>
                  <a:pt x="4448" y="10616"/>
                  <a:pt x="3557" y="10935"/>
                  <a:pt x="3220" y="11577"/>
                </a:cubicBezTo>
                <a:cubicBezTo>
                  <a:pt x="2750" y="12345"/>
                  <a:pt x="3145" y="12882"/>
                  <a:pt x="3164" y="12926"/>
                </a:cubicBezTo>
                <a:cubicBezTo>
                  <a:pt x="3155" y="12881"/>
                  <a:pt x="2870" y="12316"/>
                  <a:pt x="3375" y="11683"/>
                </a:cubicBezTo>
                <a:cubicBezTo>
                  <a:pt x="3506" y="11462"/>
                  <a:pt x="3740" y="11297"/>
                  <a:pt x="4018" y="11130"/>
                </a:cubicBezTo>
                <a:cubicBezTo>
                  <a:pt x="3449" y="12098"/>
                  <a:pt x="3651" y="13041"/>
                  <a:pt x="3659" y="12994"/>
                </a:cubicBezTo>
                <a:cubicBezTo>
                  <a:pt x="3645" y="13023"/>
                  <a:pt x="3597" y="11869"/>
                  <a:pt x="4435" y="10886"/>
                </a:cubicBezTo>
                <a:cubicBezTo>
                  <a:pt x="4703" y="10729"/>
                  <a:pt x="4984" y="10551"/>
                  <a:pt x="5239" y="10315"/>
                </a:cubicBezTo>
                <a:cubicBezTo>
                  <a:pt x="5040" y="10770"/>
                  <a:pt x="4845" y="11203"/>
                  <a:pt x="4727" y="11606"/>
                </a:cubicBezTo>
                <a:lnTo>
                  <a:pt x="4716" y="11590"/>
                </a:lnTo>
                <a:cubicBezTo>
                  <a:pt x="4159" y="12046"/>
                  <a:pt x="4104" y="12676"/>
                  <a:pt x="3938" y="13094"/>
                </a:cubicBezTo>
                <a:cubicBezTo>
                  <a:pt x="3283" y="13006"/>
                  <a:pt x="2873" y="13417"/>
                  <a:pt x="2891" y="13402"/>
                </a:cubicBezTo>
                <a:cubicBezTo>
                  <a:pt x="2882" y="13409"/>
                  <a:pt x="3311" y="13105"/>
                  <a:pt x="3899" y="13183"/>
                </a:cubicBezTo>
                <a:cubicBezTo>
                  <a:pt x="3862" y="13259"/>
                  <a:pt x="3820" y="13326"/>
                  <a:pt x="3767" y="13381"/>
                </a:cubicBezTo>
                <a:cubicBezTo>
                  <a:pt x="3467" y="13771"/>
                  <a:pt x="3093" y="13685"/>
                  <a:pt x="3065" y="13686"/>
                </a:cubicBezTo>
                <a:cubicBezTo>
                  <a:pt x="3094" y="13691"/>
                  <a:pt x="3468" y="13845"/>
                  <a:pt x="3852" y="13457"/>
                </a:cubicBezTo>
                <a:cubicBezTo>
                  <a:pt x="3872" y="13439"/>
                  <a:pt x="3890" y="13419"/>
                  <a:pt x="3908" y="13398"/>
                </a:cubicBezTo>
                <a:cubicBezTo>
                  <a:pt x="3927" y="13754"/>
                  <a:pt x="3750" y="14006"/>
                  <a:pt x="3754" y="14001"/>
                </a:cubicBezTo>
                <a:cubicBezTo>
                  <a:pt x="3744" y="14013"/>
                  <a:pt x="4002" y="13750"/>
                  <a:pt x="3963" y="13331"/>
                </a:cubicBezTo>
                <a:cubicBezTo>
                  <a:pt x="4226" y="12977"/>
                  <a:pt x="4300" y="12412"/>
                  <a:pt x="4628" y="11997"/>
                </a:cubicBezTo>
                <a:cubicBezTo>
                  <a:pt x="4351" y="13311"/>
                  <a:pt x="4973" y="14045"/>
                  <a:pt x="5004" y="14122"/>
                </a:cubicBezTo>
                <a:cubicBezTo>
                  <a:pt x="4996" y="14056"/>
                  <a:pt x="4665" y="13461"/>
                  <a:pt x="4829" y="12567"/>
                </a:cubicBezTo>
                <a:cubicBezTo>
                  <a:pt x="4984" y="12790"/>
                  <a:pt x="5176" y="12955"/>
                  <a:pt x="5366" y="13094"/>
                </a:cubicBezTo>
                <a:cubicBezTo>
                  <a:pt x="5435" y="13442"/>
                  <a:pt x="5261" y="13797"/>
                  <a:pt x="5344" y="14071"/>
                </a:cubicBezTo>
                <a:cubicBezTo>
                  <a:pt x="5431" y="14386"/>
                  <a:pt x="5680" y="14400"/>
                  <a:pt x="5658" y="14412"/>
                </a:cubicBezTo>
                <a:cubicBezTo>
                  <a:pt x="5675" y="14402"/>
                  <a:pt x="5448" y="14345"/>
                  <a:pt x="5408" y="14058"/>
                </a:cubicBezTo>
                <a:cubicBezTo>
                  <a:pt x="5387" y="13976"/>
                  <a:pt x="5400" y="13883"/>
                  <a:pt x="5422" y="13778"/>
                </a:cubicBezTo>
                <a:cubicBezTo>
                  <a:pt x="5834" y="14089"/>
                  <a:pt x="5917" y="14539"/>
                  <a:pt x="5916" y="14529"/>
                </a:cubicBezTo>
                <a:cubicBezTo>
                  <a:pt x="5918" y="14549"/>
                  <a:pt x="5911" y="14037"/>
                  <a:pt x="5441" y="13691"/>
                </a:cubicBezTo>
                <a:cubicBezTo>
                  <a:pt x="5475" y="13543"/>
                  <a:pt x="5515" y="13376"/>
                  <a:pt x="5504" y="13194"/>
                </a:cubicBezTo>
                <a:cubicBezTo>
                  <a:pt x="5755" y="13368"/>
                  <a:pt x="5982" y="13512"/>
                  <a:pt x="6084" y="13709"/>
                </a:cubicBezTo>
                <a:cubicBezTo>
                  <a:pt x="6370" y="14125"/>
                  <a:pt x="6167" y="14463"/>
                  <a:pt x="6159" y="14491"/>
                </a:cubicBezTo>
                <a:cubicBezTo>
                  <a:pt x="6171" y="14467"/>
                  <a:pt x="6387" y="14211"/>
                  <a:pt x="6248" y="13799"/>
                </a:cubicBezTo>
                <a:cubicBezTo>
                  <a:pt x="6362" y="13870"/>
                  <a:pt x="6475" y="13918"/>
                  <a:pt x="6563" y="13972"/>
                </a:cubicBezTo>
                <a:cubicBezTo>
                  <a:pt x="6490" y="14240"/>
                  <a:pt x="6634" y="14436"/>
                  <a:pt x="6629" y="14428"/>
                </a:cubicBezTo>
                <a:cubicBezTo>
                  <a:pt x="6631" y="14432"/>
                  <a:pt x="6533" y="14235"/>
                  <a:pt x="6598" y="13995"/>
                </a:cubicBezTo>
                <a:cubicBezTo>
                  <a:pt x="6626" y="14014"/>
                  <a:pt x="6650" y="14035"/>
                  <a:pt x="6670" y="14059"/>
                </a:cubicBezTo>
                <a:cubicBezTo>
                  <a:pt x="6820" y="14218"/>
                  <a:pt x="6747" y="14378"/>
                  <a:pt x="6760" y="14373"/>
                </a:cubicBezTo>
                <a:cubicBezTo>
                  <a:pt x="6743" y="14379"/>
                  <a:pt x="6852" y="14227"/>
                  <a:pt x="6708" y="14028"/>
                </a:cubicBezTo>
                <a:cubicBezTo>
                  <a:pt x="6701" y="14018"/>
                  <a:pt x="6692" y="14011"/>
                  <a:pt x="6684" y="14002"/>
                </a:cubicBezTo>
                <a:cubicBezTo>
                  <a:pt x="6837" y="14025"/>
                  <a:pt x="6935" y="14096"/>
                  <a:pt x="6936" y="14100"/>
                </a:cubicBezTo>
                <a:cubicBezTo>
                  <a:pt x="6938" y="14099"/>
                  <a:pt x="6840" y="13994"/>
                  <a:pt x="6658" y="13972"/>
                </a:cubicBezTo>
                <a:cubicBezTo>
                  <a:pt x="6532" y="13847"/>
                  <a:pt x="6328" y="13769"/>
                  <a:pt x="6172" y="13624"/>
                </a:cubicBezTo>
                <a:cubicBezTo>
                  <a:pt x="5927" y="13133"/>
                  <a:pt x="5196" y="12875"/>
                  <a:pt x="4908" y="12249"/>
                </a:cubicBezTo>
                <a:cubicBezTo>
                  <a:pt x="4945" y="12127"/>
                  <a:pt x="4988" y="12001"/>
                  <a:pt x="5046" y="11870"/>
                </a:cubicBezTo>
                <a:cubicBezTo>
                  <a:pt x="5189" y="11521"/>
                  <a:pt x="5394" y="11156"/>
                  <a:pt x="5617" y="10754"/>
                </a:cubicBezTo>
                <a:cubicBezTo>
                  <a:pt x="5671" y="10997"/>
                  <a:pt x="5769" y="11219"/>
                  <a:pt x="5883" y="11423"/>
                </a:cubicBezTo>
                <a:cubicBezTo>
                  <a:pt x="5588" y="12513"/>
                  <a:pt x="6147" y="13335"/>
                  <a:pt x="6138" y="13291"/>
                </a:cubicBezTo>
                <a:cubicBezTo>
                  <a:pt x="6136" y="13316"/>
                  <a:pt x="5789" y="12561"/>
                  <a:pt x="6005" y="11629"/>
                </a:cubicBezTo>
                <a:cubicBezTo>
                  <a:pt x="6213" y="11959"/>
                  <a:pt x="6438" y="12238"/>
                  <a:pt x="6534" y="12477"/>
                </a:cubicBezTo>
                <a:cubicBezTo>
                  <a:pt x="6940" y="13124"/>
                  <a:pt x="6791" y="13629"/>
                  <a:pt x="6803" y="13622"/>
                </a:cubicBezTo>
                <a:cubicBezTo>
                  <a:pt x="6788" y="13642"/>
                  <a:pt x="7026" y="13166"/>
                  <a:pt x="6734" y="12466"/>
                </a:cubicBezTo>
                <a:cubicBezTo>
                  <a:pt x="6918" y="12627"/>
                  <a:pt x="7108" y="12757"/>
                  <a:pt x="7278" y="12882"/>
                </a:cubicBezTo>
                <a:cubicBezTo>
                  <a:pt x="6836" y="13863"/>
                  <a:pt x="7305" y="14693"/>
                  <a:pt x="7300" y="14653"/>
                </a:cubicBezTo>
                <a:cubicBezTo>
                  <a:pt x="7296" y="14676"/>
                  <a:pt x="7002" y="13857"/>
                  <a:pt x="7400" y="12975"/>
                </a:cubicBezTo>
                <a:cubicBezTo>
                  <a:pt x="7604" y="13136"/>
                  <a:pt x="7763" y="13301"/>
                  <a:pt x="7816" y="13532"/>
                </a:cubicBezTo>
                <a:cubicBezTo>
                  <a:pt x="8014" y="14046"/>
                  <a:pt x="7835" y="14416"/>
                  <a:pt x="7839" y="14456"/>
                </a:cubicBezTo>
                <a:cubicBezTo>
                  <a:pt x="7838" y="14418"/>
                  <a:pt x="8077" y="14076"/>
                  <a:pt x="7917" y="13496"/>
                </a:cubicBezTo>
                <a:cubicBezTo>
                  <a:pt x="7891" y="13333"/>
                  <a:pt x="7814" y="13192"/>
                  <a:pt x="7707" y="13061"/>
                </a:cubicBezTo>
                <a:cubicBezTo>
                  <a:pt x="8347" y="13179"/>
                  <a:pt x="8662" y="13652"/>
                  <a:pt x="8604" y="13672"/>
                </a:cubicBezTo>
                <a:cubicBezTo>
                  <a:pt x="8680" y="13674"/>
                  <a:pt x="8384" y="13020"/>
                  <a:pt x="7590" y="12930"/>
                </a:cubicBezTo>
                <a:cubicBezTo>
                  <a:pt x="7230" y="12570"/>
                  <a:pt x="6677" y="12269"/>
                  <a:pt x="6427" y="11777"/>
                </a:cubicBezTo>
                <a:lnTo>
                  <a:pt x="6417" y="11781"/>
                </a:lnTo>
                <a:cubicBezTo>
                  <a:pt x="6258" y="11479"/>
                  <a:pt x="6084" y="11151"/>
                  <a:pt x="5993" y="10810"/>
                </a:cubicBezTo>
                <a:cubicBezTo>
                  <a:pt x="6343" y="10884"/>
                  <a:pt x="6638" y="11024"/>
                  <a:pt x="6874" y="11179"/>
                </a:cubicBezTo>
                <a:cubicBezTo>
                  <a:pt x="6674" y="11895"/>
                  <a:pt x="7072" y="12412"/>
                  <a:pt x="7057" y="12390"/>
                </a:cubicBezTo>
                <a:cubicBezTo>
                  <a:pt x="7064" y="12401"/>
                  <a:pt x="6790" y="11881"/>
                  <a:pt x="6964" y="11242"/>
                </a:cubicBezTo>
                <a:cubicBezTo>
                  <a:pt x="7398" y="11555"/>
                  <a:pt x="7610" y="11898"/>
                  <a:pt x="7593" y="11884"/>
                </a:cubicBezTo>
                <a:cubicBezTo>
                  <a:pt x="7632" y="11932"/>
                  <a:pt x="7200" y="10855"/>
                  <a:pt x="5948" y="10598"/>
                </a:cubicBezTo>
                <a:cubicBezTo>
                  <a:pt x="5926" y="10450"/>
                  <a:pt x="5920" y="10299"/>
                  <a:pt x="5943" y="10147"/>
                </a:cubicBezTo>
                <a:cubicBezTo>
                  <a:pt x="6041" y="9959"/>
                  <a:pt x="6139" y="9763"/>
                  <a:pt x="6232" y="9556"/>
                </a:cubicBezTo>
                <a:cubicBezTo>
                  <a:pt x="6233" y="9555"/>
                  <a:pt x="6233" y="9553"/>
                  <a:pt x="6234" y="9552"/>
                </a:cubicBezTo>
                <a:cubicBezTo>
                  <a:pt x="6443" y="10067"/>
                  <a:pt x="6721" y="10500"/>
                  <a:pt x="7046" y="10795"/>
                </a:cubicBezTo>
                <a:cubicBezTo>
                  <a:pt x="7852" y="11619"/>
                  <a:pt x="7887" y="12383"/>
                  <a:pt x="7904" y="12402"/>
                </a:cubicBezTo>
                <a:cubicBezTo>
                  <a:pt x="7906" y="12355"/>
                  <a:pt x="7990" y="11767"/>
                  <a:pt x="7607" y="11003"/>
                </a:cubicBezTo>
                <a:cubicBezTo>
                  <a:pt x="7744" y="11079"/>
                  <a:pt x="7883" y="11147"/>
                  <a:pt x="8020" y="11207"/>
                </a:cubicBezTo>
                <a:cubicBezTo>
                  <a:pt x="8248" y="11730"/>
                  <a:pt x="8077" y="12347"/>
                  <a:pt x="8306" y="12750"/>
                </a:cubicBezTo>
                <a:cubicBezTo>
                  <a:pt x="8529" y="13194"/>
                  <a:pt x="8895" y="13165"/>
                  <a:pt x="8921" y="13169"/>
                </a:cubicBezTo>
                <a:cubicBezTo>
                  <a:pt x="8897" y="13160"/>
                  <a:pt x="8550" y="13129"/>
                  <a:pt x="8401" y="12708"/>
                </a:cubicBezTo>
                <a:cubicBezTo>
                  <a:pt x="8339" y="12584"/>
                  <a:pt x="8328" y="12429"/>
                  <a:pt x="8329" y="12253"/>
                </a:cubicBezTo>
                <a:cubicBezTo>
                  <a:pt x="9091" y="12591"/>
                  <a:pt x="9382" y="13279"/>
                  <a:pt x="9366" y="13267"/>
                </a:cubicBezTo>
                <a:cubicBezTo>
                  <a:pt x="9387" y="13296"/>
                  <a:pt x="9195" y="12484"/>
                  <a:pt x="8332" y="12111"/>
                </a:cubicBezTo>
                <a:cubicBezTo>
                  <a:pt x="8338" y="11869"/>
                  <a:pt x="8345" y="11596"/>
                  <a:pt x="8269" y="11315"/>
                </a:cubicBezTo>
                <a:cubicBezTo>
                  <a:pt x="8720" y="11502"/>
                  <a:pt x="9123" y="11651"/>
                  <a:pt x="9351" y="11925"/>
                </a:cubicBezTo>
                <a:cubicBezTo>
                  <a:pt x="9939" y="12480"/>
                  <a:pt x="9736" y="13079"/>
                  <a:pt x="9734" y="13125"/>
                </a:cubicBezTo>
                <a:cubicBezTo>
                  <a:pt x="9745" y="13084"/>
                  <a:pt x="9993" y="12616"/>
                  <a:pt x="9647" y="12025"/>
                </a:cubicBezTo>
                <a:cubicBezTo>
                  <a:pt x="9845" y="12092"/>
                  <a:pt x="10037" y="12121"/>
                  <a:pt x="10191" y="12172"/>
                </a:cubicBezTo>
                <a:cubicBezTo>
                  <a:pt x="10166" y="12619"/>
                  <a:pt x="10460" y="12877"/>
                  <a:pt x="10449" y="12866"/>
                </a:cubicBezTo>
                <a:cubicBezTo>
                  <a:pt x="10454" y="12872"/>
                  <a:pt x="10232" y="12595"/>
                  <a:pt x="10254" y="12196"/>
                </a:cubicBezTo>
                <a:cubicBezTo>
                  <a:pt x="10304" y="12216"/>
                  <a:pt x="10349" y="12241"/>
                  <a:pt x="10386" y="12273"/>
                </a:cubicBezTo>
                <a:cubicBezTo>
                  <a:pt x="10648" y="12451"/>
                  <a:pt x="10625" y="12691"/>
                  <a:pt x="10633" y="12728"/>
                </a:cubicBezTo>
                <a:cubicBezTo>
                  <a:pt x="10634" y="12684"/>
                  <a:pt x="10695" y="12442"/>
                  <a:pt x="10435" y="12211"/>
                </a:cubicBezTo>
                <a:cubicBezTo>
                  <a:pt x="10421" y="12197"/>
                  <a:pt x="10405" y="12184"/>
                  <a:pt x="10389" y="12172"/>
                </a:cubicBezTo>
                <a:cubicBezTo>
                  <a:pt x="10636" y="12138"/>
                  <a:pt x="10822" y="12250"/>
                  <a:pt x="10818" y="12247"/>
                </a:cubicBezTo>
                <a:cubicBezTo>
                  <a:pt x="10827" y="12254"/>
                  <a:pt x="10630" y="12085"/>
                  <a:pt x="10339" y="12138"/>
                </a:cubicBezTo>
                <a:cubicBezTo>
                  <a:pt x="10107" y="11992"/>
                  <a:pt x="9767" y="11951"/>
                  <a:pt x="9484" y="11790"/>
                </a:cubicBezTo>
                <a:cubicBezTo>
                  <a:pt x="8959" y="11096"/>
                  <a:pt x="7745" y="10941"/>
                  <a:pt x="7060" y="10101"/>
                </a:cubicBezTo>
                <a:cubicBezTo>
                  <a:pt x="6965" y="9916"/>
                  <a:pt x="6882" y="9719"/>
                  <a:pt x="6814" y="9507"/>
                </a:cubicBezTo>
                <a:cubicBezTo>
                  <a:pt x="7281" y="10027"/>
                  <a:pt x="7927" y="10062"/>
                  <a:pt x="8413" y="10079"/>
                </a:cubicBezTo>
                <a:cubicBezTo>
                  <a:pt x="8832" y="10720"/>
                  <a:pt x="9563" y="10775"/>
                  <a:pt x="9812" y="11124"/>
                </a:cubicBezTo>
                <a:cubicBezTo>
                  <a:pt x="10114" y="11453"/>
                  <a:pt x="9978" y="11774"/>
                  <a:pt x="9975" y="11799"/>
                </a:cubicBezTo>
                <a:cubicBezTo>
                  <a:pt x="9984" y="11774"/>
                  <a:pt x="10179" y="11466"/>
                  <a:pt x="9896" y="11062"/>
                </a:cubicBezTo>
                <a:cubicBezTo>
                  <a:pt x="10269" y="11339"/>
                  <a:pt x="10417" y="11688"/>
                  <a:pt x="10414" y="11679"/>
                </a:cubicBezTo>
                <a:cubicBezTo>
                  <a:pt x="10421" y="11704"/>
                  <a:pt x="10275" y="11082"/>
                  <a:pt x="9613" y="10780"/>
                </a:cubicBezTo>
                <a:cubicBezTo>
                  <a:pt x="9320" y="10570"/>
                  <a:pt x="8927" y="10409"/>
                  <a:pt x="8670" y="10090"/>
                </a:cubicBezTo>
                <a:cubicBezTo>
                  <a:pt x="8709" y="10093"/>
                  <a:pt x="8745" y="10096"/>
                  <a:pt x="8779" y="10100"/>
                </a:cubicBezTo>
                <a:cubicBezTo>
                  <a:pt x="10086" y="10058"/>
                  <a:pt x="10493" y="10952"/>
                  <a:pt x="10477" y="10922"/>
                </a:cubicBezTo>
                <a:cubicBezTo>
                  <a:pt x="10509" y="10981"/>
                  <a:pt x="10328" y="10224"/>
                  <a:pt x="9421" y="9874"/>
                </a:cubicBezTo>
                <a:cubicBezTo>
                  <a:pt x="9700" y="9809"/>
                  <a:pt x="9958" y="9741"/>
                  <a:pt x="10195" y="9707"/>
                </a:cubicBezTo>
                <a:cubicBezTo>
                  <a:pt x="10590" y="10724"/>
                  <a:pt x="11519" y="10984"/>
                  <a:pt x="11487" y="10959"/>
                </a:cubicBezTo>
                <a:cubicBezTo>
                  <a:pt x="11501" y="10978"/>
                  <a:pt x="10707" y="10603"/>
                  <a:pt x="10353" y="9691"/>
                </a:cubicBezTo>
                <a:cubicBezTo>
                  <a:pt x="10491" y="9682"/>
                  <a:pt x="10623" y="9688"/>
                  <a:pt x="10744" y="9723"/>
                </a:cubicBezTo>
                <a:close/>
                <a:moveTo>
                  <a:pt x="379" y="8015"/>
                </a:moveTo>
                <a:lnTo>
                  <a:pt x="379" y="8534"/>
                </a:lnTo>
                <a:lnTo>
                  <a:pt x="12717" y="8534"/>
                </a:lnTo>
                <a:lnTo>
                  <a:pt x="12717" y="8015"/>
                </a:lnTo>
                <a:lnTo>
                  <a:pt x="379" y="8015"/>
                </a:lnTo>
                <a:close/>
                <a:moveTo>
                  <a:pt x="2038" y="1829"/>
                </a:moveTo>
                <a:cubicBezTo>
                  <a:pt x="2093" y="1858"/>
                  <a:pt x="2147" y="1849"/>
                  <a:pt x="2223" y="1828"/>
                </a:cubicBezTo>
                <a:cubicBezTo>
                  <a:pt x="2200" y="1752"/>
                  <a:pt x="2179" y="1701"/>
                  <a:pt x="2126" y="1672"/>
                </a:cubicBezTo>
                <a:cubicBezTo>
                  <a:pt x="2042" y="1626"/>
                  <a:pt x="1960" y="1638"/>
                  <a:pt x="1874" y="1635"/>
                </a:cubicBezTo>
                <a:cubicBezTo>
                  <a:pt x="1922" y="1707"/>
                  <a:pt x="1955" y="1783"/>
                  <a:pt x="2038" y="1829"/>
                </a:cubicBezTo>
                <a:close/>
                <a:moveTo>
                  <a:pt x="5413" y="387"/>
                </a:moveTo>
                <a:cubicBezTo>
                  <a:pt x="5454" y="320"/>
                  <a:pt x="5478" y="270"/>
                  <a:pt x="5464" y="210"/>
                </a:cubicBezTo>
                <a:cubicBezTo>
                  <a:pt x="5441" y="117"/>
                  <a:pt x="5378" y="65"/>
                  <a:pt x="5322" y="0"/>
                </a:cubicBezTo>
                <a:cubicBezTo>
                  <a:pt x="5301" y="83"/>
                  <a:pt x="5267" y="159"/>
                  <a:pt x="5289" y="252"/>
                </a:cubicBezTo>
                <a:cubicBezTo>
                  <a:pt x="5303" y="312"/>
                  <a:pt x="5347" y="345"/>
                  <a:pt x="5413" y="387"/>
                </a:cubicBezTo>
                <a:close/>
                <a:moveTo>
                  <a:pt x="11408" y="2957"/>
                </a:moveTo>
                <a:cubicBezTo>
                  <a:pt x="11471" y="2887"/>
                  <a:pt x="11479" y="2804"/>
                  <a:pt x="11500" y="2721"/>
                </a:cubicBezTo>
                <a:cubicBezTo>
                  <a:pt x="11420" y="2751"/>
                  <a:pt x="11338" y="2766"/>
                  <a:pt x="11275" y="2837"/>
                </a:cubicBezTo>
                <a:cubicBezTo>
                  <a:pt x="11233" y="2883"/>
                  <a:pt x="11230" y="2938"/>
                  <a:pt x="11233" y="3016"/>
                </a:cubicBezTo>
                <a:cubicBezTo>
                  <a:pt x="11311" y="3012"/>
                  <a:pt x="11366" y="3003"/>
                  <a:pt x="11408" y="2957"/>
                </a:cubicBezTo>
                <a:close/>
                <a:moveTo>
                  <a:pt x="371" y="4903"/>
                </a:moveTo>
                <a:cubicBezTo>
                  <a:pt x="339" y="4831"/>
                  <a:pt x="311" y="4784"/>
                  <a:pt x="253" y="4761"/>
                </a:cubicBezTo>
                <a:cubicBezTo>
                  <a:pt x="164" y="4727"/>
                  <a:pt x="85" y="4751"/>
                  <a:pt x="0" y="4760"/>
                </a:cubicBezTo>
                <a:cubicBezTo>
                  <a:pt x="57" y="4824"/>
                  <a:pt x="100" y="4895"/>
                  <a:pt x="189" y="4929"/>
                </a:cubicBezTo>
                <a:cubicBezTo>
                  <a:pt x="246" y="4951"/>
                  <a:pt x="299" y="4934"/>
                  <a:pt x="371" y="4903"/>
                </a:cubicBezTo>
                <a:close/>
                <a:moveTo>
                  <a:pt x="617" y="5541"/>
                </a:moveTo>
                <a:cubicBezTo>
                  <a:pt x="545" y="5594"/>
                  <a:pt x="482" y="5658"/>
                  <a:pt x="413" y="5719"/>
                </a:cubicBezTo>
                <a:cubicBezTo>
                  <a:pt x="494" y="5738"/>
                  <a:pt x="573" y="5765"/>
                  <a:pt x="654" y="5780"/>
                </a:cubicBezTo>
                <a:cubicBezTo>
                  <a:pt x="618" y="5813"/>
                  <a:pt x="582" y="5847"/>
                  <a:pt x="544" y="5880"/>
                </a:cubicBezTo>
                <a:cubicBezTo>
                  <a:pt x="630" y="5900"/>
                  <a:pt x="712" y="5928"/>
                  <a:pt x="797" y="5943"/>
                </a:cubicBezTo>
                <a:cubicBezTo>
                  <a:pt x="665" y="5998"/>
                  <a:pt x="575" y="6097"/>
                  <a:pt x="471" y="6188"/>
                </a:cubicBezTo>
                <a:cubicBezTo>
                  <a:pt x="629" y="6226"/>
                  <a:pt x="773" y="6289"/>
                  <a:pt x="949" y="6246"/>
                </a:cubicBezTo>
                <a:cubicBezTo>
                  <a:pt x="995" y="6235"/>
                  <a:pt x="1032" y="6212"/>
                  <a:pt x="1066" y="6183"/>
                </a:cubicBezTo>
                <a:cubicBezTo>
                  <a:pt x="1074" y="6191"/>
                  <a:pt x="1083" y="6199"/>
                  <a:pt x="1092" y="6206"/>
                </a:cubicBezTo>
                <a:cubicBezTo>
                  <a:pt x="984" y="6254"/>
                  <a:pt x="899" y="6332"/>
                  <a:pt x="803" y="6402"/>
                </a:cubicBezTo>
                <a:cubicBezTo>
                  <a:pt x="929" y="6445"/>
                  <a:pt x="1044" y="6503"/>
                  <a:pt x="1180" y="6508"/>
                </a:cubicBezTo>
                <a:cubicBezTo>
                  <a:pt x="1171" y="6522"/>
                  <a:pt x="1161" y="6536"/>
                  <a:pt x="1151" y="6550"/>
                </a:cubicBezTo>
                <a:cubicBezTo>
                  <a:pt x="1246" y="6553"/>
                  <a:pt x="1336" y="6573"/>
                  <a:pt x="1433" y="6527"/>
                </a:cubicBezTo>
                <a:cubicBezTo>
                  <a:pt x="1433" y="6527"/>
                  <a:pt x="1433" y="6526"/>
                  <a:pt x="1434" y="6526"/>
                </a:cubicBezTo>
                <a:cubicBezTo>
                  <a:pt x="1391" y="6612"/>
                  <a:pt x="1366" y="6705"/>
                  <a:pt x="1332" y="6797"/>
                </a:cubicBezTo>
                <a:cubicBezTo>
                  <a:pt x="1462" y="6762"/>
                  <a:pt x="1591" y="6747"/>
                  <a:pt x="1708" y="6674"/>
                </a:cubicBezTo>
                <a:cubicBezTo>
                  <a:pt x="1690" y="6717"/>
                  <a:pt x="1672" y="6761"/>
                  <a:pt x="1653" y="6805"/>
                </a:cubicBezTo>
                <a:cubicBezTo>
                  <a:pt x="1788" y="6779"/>
                  <a:pt x="1923" y="6773"/>
                  <a:pt x="2048" y="6703"/>
                </a:cubicBezTo>
                <a:cubicBezTo>
                  <a:pt x="2063" y="6706"/>
                  <a:pt x="2078" y="6707"/>
                  <a:pt x="2093" y="6710"/>
                </a:cubicBezTo>
                <a:cubicBezTo>
                  <a:pt x="2066" y="6787"/>
                  <a:pt x="2049" y="6868"/>
                  <a:pt x="2026" y="6949"/>
                </a:cubicBezTo>
                <a:cubicBezTo>
                  <a:pt x="2179" y="6897"/>
                  <a:pt x="2334" y="6872"/>
                  <a:pt x="2459" y="6742"/>
                </a:cubicBezTo>
                <a:cubicBezTo>
                  <a:pt x="2463" y="6804"/>
                  <a:pt x="2481" y="6863"/>
                  <a:pt x="2495" y="6925"/>
                </a:cubicBezTo>
                <a:cubicBezTo>
                  <a:pt x="2552" y="6862"/>
                  <a:pt x="2615" y="6808"/>
                  <a:pt x="2648" y="6725"/>
                </a:cubicBezTo>
                <a:cubicBezTo>
                  <a:pt x="2663" y="6723"/>
                  <a:pt x="2679" y="6721"/>
                  <a:pt x="2695" y="6719"/>
                </a:cubicBezTo>
                <a:cubicBezTo>
                  <a:pt x="2675" y="6773"/>
                  <a:pt x="2658" y="6829"/>
                  <a:pt x="2637" y="6885"/>
                </a:cubicBezTo>
                <a:cubicBezTo>
                  <a:pt x="2794" y="6843"/>
                  <a:pt x="2951" y="6830"/>
                  <a:pt x="3085" y="6709"/>
                </a:cubicBezTo>
                <a:cubicBezTo>
                  <a:pt x="3095" y="6700"/>
                  <a:pt x="3101" y="6690"/>
                  <a:pt x="3108" y="6681"/>
                </a:cubicBezTo>
                <a:cubicBezTo>
                  <a:pt x="3114" y="6703"/>
                  <a:pt x="3120" y="6726"/>
                  <a:pt x="3126" y="6749"/>
                </a:cubicBezTo>
                <a:cubicBezTo>
                  <a:pt x="3186" y="6682"/>
                  <a:pt x="3255" y="6627"/>
                  <a:pt x="3285" y="6533"/>
                </a:cubicBezTo>
                <a:cubicBezTo>
                  <a:pt x="3488" y="6431"/>
                  <a:pt x="3669" y="6294"/>
                  <a:pt x="3823" y="6130"/>
                </a:cubicBezTo>
                <a:cubicBezTo>
                  <a:pt x="3959" y="6113"/>
                  <a:pt x="4094" y="6100"/>
                  <a:pt x="4226" y="6099"/>
                </a:cubicBezTo>
                <a:cubicBezTo>
                  <a:pt x="4662" y="6183"/>
                  <a:pt x="4926" y="6272"/>
                  <a:pt x="4991" y="6465"/>
                </a:cubicBezTo>
                <a:cubicBezTo>
                  <a:pt x="4993" y="6469"/>
                  <a:pt x="4994" y="6473"/>
                  <a:pt x="4995" y="6477"/>
                </a:cubicBezTo>
                <a:cubicBezTo>
                  <a:pt x="5107" y="6778"/>
                  <a:pt x="5082" y="7218"/>
                  <a:pt x="5010" y="7693"/>
                </a:cubicBezTo>
                <a:lnTo>
                  <a:pt x="5400" y="7693"/>
                </a:lnTo>
                <a:cubicBezTo>
                  <a:pt x="5473" y="7185"/>
                  <a:pt x="5492" y="6706"/>
                  <a:pt x="5357" y="6343"/>
                </a:cubicBezTo>
                <a:cubicBezTo>
                  <a:pt x="5213" y="5914"/>
                  <a:pt x="4720" y="5799"/>
                  <a:pt x="4263" y="5713"/>
                </a:cubicBezTo>
                <a:lnTo>
                  <a:pt x="4244" y="5713"/>
                </a:lnTo>
                <a:cubicBezTo>
                  <a:pt x="4202" y="5713"/>
                  <a:pt x="4161" y="5715"/>
                  <a:pt x="4120" y="5717"/>
                </a:cubicBezTo>
                <a:cubicBezTo>
                  <a:pt x="3634" y="5738"/>
                  <a:pt x="3157" y="5873"/>
                  <a:pt x="2731" y="5873"/>
                </a:cubicBezTo>
                <a:cubicBezTo>
                  <a:pt x="2661" y="5873"/>
                  <a:pt x="2593" y="5869"/>
                  <a:pt x="2525" y="5861"/>
                </a:cubicBezTo>
                <a:cubicBezTo>
                  <a:pt x="2260" y="6051"/>
                  <a:pt x="1987" y="6095"/>
                  <a:pt x="1801" y="6095"/>
                </a:cubicBezTo>
                <a:cubicBezTo>
                  <a:pt x="1651" y="6095"/>
                  <a:pt x="1556" y="6067"/>
                  <a:pt x="1567" y="6065"/>
                </a:cubicBezTo>
                <a:cubicBezTo>
                  <a:pt x="1564" y="6067"/>
                  <a:pt x="1591" y="6071"/>
                  <a:pt x="1642" y="6071"/>
                </a:cubicBezTo>
                <a:cubicBezTo>
                  <a:pt x="1782" y="6071"/>
                  <a:pt x="2098" y="6040"/>
                  <a:pt x="2403" y="5840"/>
                </a:cubicBezTo>
                <a:cubicBezTo>
                  <a:pt x="2366" y="5831"/>
                  <a:pt x="2328" y="5823"/>
                  <a:pt x="2292" y="5811"/>
                </a:cubicBezTo>
                <a:cubicBezTo>
                  <a:pt x="1558" y="5611"/>
                  <a:pt x="1488" y="5053"/>
                  <a:pt x="1474" y="5015"/>
                </a:cubicBezTo>
                <a:cubicBezTo>
                  <a:pt x="1495" y="5048"/>
                  <a:pt x="1648" y="5560"/>
                  <a:pt x="2326" y="5654"/>
                </a:cubicBezTo>
                <a:cubicBezTo>
                  <a:pt x="2401" y="5676"/>
                  <a:pt x="2480" y="5684"/>
                  <a:pt x="2564" y="5684"/>
                </a:cubicBezTo>
                <a:cubicBezTo>
                  <a:pt x="2594" y="5684"/>
                  <a:pt x="2625" y="5683"/>
                  <a:pt x="2657" y="5681"/>
                </a:cubicBezTo>
                <a:cubicBezTo>
                  <a:pt x="2365" y="4929"/>
                  <a:pt x="1719" y="4609"/>
                  <a:pt x="1699" y="4609"/>
                </a:cubicBezTo>
                <a:cubicBezTo>
                  <a:pt x="1699" y="4608"/>
                  <a:pt x="1698" y="4608"/>
                  <a:pt x="1699" y="4608"/>
                </a:cubicBezTo>
                <a:cubicBezTo>
                  <a:pt x="1737" y="4608"/>
                  <a:pt x="2471" y="4845"/>
                  <a:pt x="2790" y="5667"/>
                </a:cubicBezTo>
                <a:cubicBezTo>
                  <a:pt x="2990" y="5638"/>
                  <a:pt x="3209" y="5581"/>
                  <a:pt x="3445" y="5526"/>
                </a:cubicBezTo>
                <a:cubicBezTo>
                  <a:pt x="2706" y="5241"/>
                  <a:pt x="2537" y="4638"/>
                  <a:pt x="2550" y="4638"/>
                </a:cubicBezTo>
                <a:cubicBezTo>
                  <a:pt x="2550" y="4638"/>
                  <a:pt x="2551" y="4639"/>
                  <a:pt x="2552" y="4640"/>
                </a:cubicBezTo>
                <a:lnTo>
                  <a:pt x="2552" y="4640"/>
                </a:lnTo>
                <a:cubicBezTo>
                  <a:pt x="2552" y="4640"/>
                  <a:pt x="2552" y="4641"/>
                  <a:pt x="2552" y="4641"/>
                </a:cubicBezTo>
                <a:cubicBezTo>
                  <a:pt x="2554" y="4647"/>
                  <a:pt x="2889" y="5337"/>
                  <a:pt x="3912" y="5337"/>
                </a:cubicBezTo>
                <a:cubicBezTo>
                  <a:pt x="3936" y="5337"/>
                  <a:pt x="3961" y="5336"/>
                  <a:pt x="3987" y="5335"/>
                </a:cubicBezTo>
                <a:cubicBezTo>
                  <a:pt x="4016" y="5339"/>
                  <a:pt x="4047" y="5342"/>
                  <a:pt x="4079" y="5344"/>
                </a:cubicBezTo>
                <a:cubicBezTo>
                  <a:pt x="3862" y="5075"/>
                  <a:pt x="3530" y="4939"/>
                  <a:pt x="3282" y="4761"/>
                </a:cubicBezTo>
                <a:cubicBezTo>
                  <a:pt x="2733" y="4511"/>
                  <a:pt x="2603" y="4000"/>
                  <a:pt x="2605" y="4000"/>
                </a:cubicBezTo>
                <a:lnTo>
                  <a:pt x="2605" y="4000"/>
                </a:lnTo>
                <a:cubicBezTo>
                  <a:pt x="2606" y="4000"/>
                  <a:pt x="2732" y="4291"/>
                  <a:pt x="3043" y="4522"/>
                </a:cubicBezTo>
                <a:cubicBezTo>
                  <a:pt x="2804" y="4181"/>
                  <a:pt x="2969" y="3920"/>
                  <a:pt x="2976" y="3899"/>
                </a:cubicBezTo>
                <a:cubicBezTo>
                  <a:pt x="2974" y="3920"/>
                  <a:pt x="2859" y="4192"/>
                  <a:pt x="3114" y="4470"/>
                </a:cubicBezTo>
                <a:cubicBezTo>
                  <a:pt x="3320" y="4759"/>
                  <a:pt x="3918" y="4811"/>
                  <a:pt x="4275" y="5323"/>
                </a:cubicBezTo>
                <a:cubicBezTo>
                  <a:pt x="4282" y="5333"/>
                  <a:pt x="4290" y="5343"/>
                  <a:pt x="4297" y="5353"/>
                </a:cubicBezTo>
                <a:cubicBezTo>
                  <a:pt x="4708" y="5367"/>
                  <a:pt x="5253" y="5397"/>
                  <a:pt x="5648" y="5837"/>
                </a:cubicBezTo>
                <a:cubicBezTo>
                  <a:pt x="5591" y="5658"/>
                  <a:pt x="5521" y="5491"/>
                  <a:pt x="5440" y="5335"/>
                </a:cubicBezTo>
                <a:cubicBezTo>
                  <a:pt x="5383" y="5264"/>
                  <a:pt x="5320" y="5201"/>
                  <a:pt x="5255" y="5141"/>
                </a:cubicBezTo>
                <a:cubicBezTo>
                  <a:pt x="4662" y="4595"/>
                  <a:pt x="3788" y="4435"/>
                  <a:pt x="3390" y="3904"/>
                </a:cubicBezTo>
                <a:cubicBezTo>
                  <a:pt x="3148" y="3768"/>
                  <a:pt x="2856" y="3740"/>
                  <a:pt x="2659" y="3614"/>
                </a:cubicBezTo>
                <a:cubicBezTo>
                  <a:pt x="2629" y="3619"/>
                  <a:pt x="2600" y="3621"/>
                  <a:pt x="2573" y="3621"/>
                </a:cubicBezTo>
                <a:cubicBezTo>
                  <a:pt x="2386" y="3621"/>
                  <a:pt x="2264" y="3521"/>
                  <a:pt x="2264" y="3520"/>
                </a:cubicBezTo>
                <a:cubicBezTo>
                  <a:pt x="2265" y="3521"/>
                  <a:pt x="2382" y="3590"/>
                  <a:pt x="2547" y="3590"/>
                </a:cubicBezTo>
                <a:cubicBezTo>
                  <a:pt x="2570" y="3590"/>
                  <a:pt x="2594" y="3588"/>
                  <a:pt x="2618" y="3585"/>
                </a:cubicBezTo>
                <a:cubicBezTo>
                  <a:pt x="2606" y="3575"/>
                  <a:pt x="2594" y="3566"/>
                  <a:pt x="2582" y="3555"/>
                </a:cubicBezTo>
                <a:cubicBezTo>
                  <a:pt x="2350" y="3355"/>
                  <a:pt x="2412" y="3141"/>
                  <a:pt x="2418" y="3112"/>
                </a:cubicBezTo>
                <a:cubicBezTo>
                  <a:pt x="2420" y="3127"/>
                  <a:pt x="2385" y="3345"/>
                  <a:pt x="2623" y="3503"/>
                </a:cubicBezTo>
                <a:cubicBezTo>
                  <a:pt x="2656" y="3531"/>
                  <a:pt x="2696" y="3552"/>
                  <a:pt x="2741" y="3571"/>
                </a:cubicBezTo>
                <a:cubicBezTo>
                  <a:pt x="2761" y="3232"/>
                  <a:pt x="2575" y="2997"/>
                  <a:pt x="2576" y="2997"/>
                </a:cubicBezTo>
                <a:cubicBezTo>
                  <a:pt x="2576" y="2997"/>
                  <a:pt x="2576" y="2997"/>
                  <a:pt x="2576" y="2997"/>
                </a:cubicBezTo>
                <a:cubicBezTo>
                  <a:pt x="2576" y="2997"/>
                  <a:pt x="2817" y="3217"/>
                  <a:pt x="2794" y="3590"/>
                </a:cubicBezTo>
                <a:cubicBezTo>
                  <a:pt x="2924" y="3632"/>
                  <a:pt x="3087" y="3654"/>
                  <a:pt x="3253" y="3709"/>
                </a:cubicBezTo>
                <a:cubicBezTo>
                  <a:pt x="2961" y="3209"/>
                  <a:pt x="3171" y="2813"/>
                  <a:pt x="3180" y="2778"/>
                </a:cubicBezTo>
                <a:cubicBezTo>
                  <a:pt x="3178" y="2818"/>
                  <a:pt x="3006" y="3323"/>
                  <a:pt x="3504" y="3792"/>
                </a:cubicBezTo>
                <a:cubicBezTo>
                  <a:pt x="3696" y="4025"/>
                  <a:pt x="4037" y="4150"/>
                  <a:pt x="4418" y="4309"/>
                </a:cubicBezTo>
                <a:cubicBezTo>
                  <a:pt x="4353" y="4071"/>
                  <a:pt x="4360" y="3840"/>
                  <a:pt x="4365" y="3636"/>
                </a:cubicBezTo>
                <a:cubicBezTo>
                  <a:pt x="3648" y="3326"/>
                  <a:pt x="3480" y="2658"/>
                  <a:pt x="3491" y="2658"/>
                </a:cubicBezTo>
                <a:cubicBezTo>
                  <a:pt x="3491" y="2658"/>
                  <a:pt x="3491" y="2658"/>
                  <a:pt x="3491" y="2659"/>
                </a:cubicBezTo>
                <a:lnTo>
                  <a:pt x="3491" y="2659"/>
                </a:lnTo>
                <a:cubicBezTo>
                  <a:pt x="3482" y="2659"/>
                  <a:pt x="3729" y="3232"/>
                  <a:pt x="4367" y="3515"/>
                </a:cubicBezTo>
                <a:cubicBezTo>
                  <a:pt x="4369" y="3367"/>
                  <a:pt x="4359" y="3236"/>
                  <a:pt x="4307" y="3131"/>
                </a:cubicBezTo>
                <a:cubicBezTo>
                  <a:pt x="4181" y="2775"/>
                  <a:pt x="3887" y="2749"/>
                  <a:pt x="3867" y="2741"/>
                </a:cubicBezTo>
                <a:cubicBezTo>
                  <a:pt x="3889" y="2744"/>
                  <a:pt x="4198" y="2720"/>
                  <a:pt x="4387" y="3095"/>
                </a:cubicBezTo>
                <a:cubicBezTo>
                  <a:pt x="4581" y="3436"/>
                  <a:pt x="4436" y="3958"/>
                  <a:pt x="4629" y="4399"/>
                </a:cubicBezTo>
                <a:cubicBezTo>
                  <a:pt x="4745" y="4451"/>
                  <a:pt x="4862" y="4508"/>
                  <a:pt x="4977" y="4572"/>
                </a:cubicBezTo>
                <a:cubicBezTo>
                  <a:pt x="4654" y="3926"/>
                  <a:pt x="4725" y="3429"/>
                  <a:pt x="4726" y="3389"/>
                </a:cubicBezTo>
                <a:cubicBezTo>
                  <a:pt x="4741" y="3405"/>
                  <a:pt x="4770" y="4051"/>
                  <a:pt x="5452" y="4748"/>
                </a:cubicBezTo>
                <a:cubicBezTo>
                  <a:pt x="5515" y="4805"/>
                  <a:pt x="5576" y="4870"/>
                  <a:pt x="5635" y="4939"/>
                </a:cubicBezTo>
                <a:cubicBezTo>
                  <a:pt x="5832" y="5170"/>
                  <a:pt x="6002" y="5463"/>
                  <a:pt x="6139" y="5798"/>
                </a:cubicBezTo>
                <a:lnTo>
                  <a:pt x="6140" y="5795"/>
                </a:lnTo>
                <a:cubicBezTo>
                  <a:pt x="6219" y="5620"/>
                  <a:pt x="6301" y="5455"/>
                  <a:pt x="6384" y="5295"/>
                </a:cubicBezTo>
                <a:cubicBezTo>
                  <a:pt x="6401" y="5186"/>
                  <a:pt x="6397" y="5077"/>
                  <a:pt x="6384" y="4968"/>
                </a:cubicBezTo>
                <a:cubicBezTo>
                  <a:pt x="6382" y="4950"/>
                  <a:pt x="6382" y="4932"/>
                  <a:pt x="6379" y="4914"/>
                </a:cubicBezTo>
                <a:cubicBezTo>
                  <a:pt x="5345" y="4702"/>
                  <a:pt x="4973" y="3826"/>
                  <a:pt x="4988" y="3826"/>
                </a:cubicBezTo>
                <a:cubicBezTo>
                  <a:pt x="4988" y="3826"/>
                  <a:pt x="4989" y="3827"/>
                  <a:pt x="4990" y="3828"/>
                </a:cubicBezTo>
                <a:cubicBezTo>
                  <a:pt x="4989" y="3827"/>
                  <a:pt x="4989" y="3827"/>
                  <a:pt x="4989" y="3827"/>
                </a:cubicBezTo>
                <a:cubicBezTo>
                  <a:pt x="4982" y="3827"/>
                  <a:pt x="5162" y="4111"/>
                  <a:pt x="5522" y="4370"/>
                </a:cubicBezTo>
                <a:cubicBezTo>
                  <a:pt x="5674" y="3839"/>
                  <a:pt x="5450" y="3399"/>
                  <a:pt x="5443" y="3399"/>
                </a:cubicBezTo>
                <a:cubicBezTo>
                  <a:pt x="5443" y="3399"/>
                  <a:pt x="5443" y="3399"/>
                  <a:pt x="5443" y="3399"/>
                </a:cubicBezTo>
                <a:cubicBezTo>
                  <a:pt x="5443" y="3399"/>
                  <a:pt x="5443" y="3399"/>
                  <a:pt x="5443" y="3399"/>
                </a:cubicBezTo>
                <a:cubicBezTo>
                  <a:pt x="5453" y="3399"/>
                  <a:pt x="5769" y="3835"/>
                  <a:pt x="5598" y="4423"/>
                </a:cubicBezTo>
                <a:cubicBezTo>
                  <a:pt x="5797" y="4555"/>
                  <a:pt x="6047" y="4672"/>
                  <a:pt x="6342" y="4735"/>
                </a:cubicBezTo>
                <a:cubicBezTo>
                  <a:pt x="6265" y="4447"/>
                  <a:pt x="6119" y="4170"/>
                  <a:pt x="5984" y="3915"/>
                </a:cubicBezTo>
                <a:lnTo>
                  <a:pt x="5975" y="3918"/>
                </a:lnTo>
                <a:cubicBezTo>
                  <a:pt x="5764" y="3502"/>
                  <a:pt x="5296" y="3248"/>
                  <a:pt x="4992" y="2943"/>
                </a:cubicBezTo>
                <a:cubicBezTo>
                  <a:pt x="4322" y="2867"/>
                  <a:pt x="4071" y="2316"/>
                  <a:pt x="4135" y="2316"/>
                </a:cubicBezTo>
                <a:lnTo>
                  <a:pt x="4135" y="2316"/>
                </a:lnTo>
                <a:cubicBezTo>
                  <a:pt x="4086" y="2333"/>
                  <a:pt x="4352" y="2733"/>
                  <a:pt x="4893" y="2833"/>
                </a:cubicBezTo>
                <a:cubicBezTo>
                  <a:pt x="4803" y="2722"/>
                  <a:pt x="4737" y="2603"/>
                  <a:pt x="4716" y="2465"/>
                </a:cubicBezTo>
                <a:cubicBezTo>
                  <a:pt x="4580" y="1974"/>
                  <a:pt x="4782" y="1686"/>
                  <a:pt x="4782" y="1654"/>
                </a:cubicBezTo>
                <a:cubicBezTo>
                  <a:pt x="4785" y="1687"/>
                  <a:pt x="4634" y="2000"/>
                  <a:pt x="4802" y="2435"/>
                </a:cubicBezTo>
                <a:cubicBezTo>
                  <a:pt x="4846" y="2630"/>
                  <a:pt x="4980" y="2769"/>
                  <a:pt x="5153" y="2905"/>
                </a:cubicBezTo>
                <a:cubicBezTo>
                  <a:pt x="5485" y="2170"/>
                  <a:pt x="5247" y="1486"/>
                  <a:pt x="5238" y="1486"/>
                </a:cubicBezTo>
                <a:cubicBezTo>
                  <a:pt x="5238" y="1486"/>
                  <a:pt x="5238" y="1486"/>
                  <a:pt x="5238" y="1487"/>
                </a:cubicBezTo>
                <a:cubicBezTo>
                  <a:pt x="5237" y="1486"/>
                  <a:pt x="5238" y="1486"/>
                  <a:pt x="5238" y="1486"/>
                </a:cubicBezTo>
                <a:cubicBezTo>
                  <a:pt x="5251" y="1486"/>
                  <a:pt x="5621" y="2174"/>
                  <a:pt x="5256" y="2984"/>
                </a:cubicBezTo>
                <a:cubicBezTo>
                  <a:pt x="5400" y="3089"/>
                  <a:pt x="5560" y="3198"/>
                  <a:pt x="5715" y="3334"/>
                </a:cubicBezTo>
                <a:cubicBezTo>
                  <a:pt x="5480" y="2770"/>
                  <a:pt x="5654" y="2378"/>
                  <a:pt x="5658" y="2359"/>
                </a:cubicBezTo>
                <a:cubicBezTo>
                  <a:pt x="5658" y="2359"/>
                  <a:pt x="5658" y="2359"/>
                  <a:pt x="5658" y="2359"/>
                </a:cubicBezTo>
                <a:lnTo>
                  <a:pt x="5658" y="2359"/>
                </a:lnTo>
                <a:cubicBezTo>
                  <a:pt x="5658" y="2358"/>
                  <a:pt x="5658" y="2358"/>
                  <a:pt x="5658" y="2358"/>
                </a:cubicBezTo>
                <a:cubicBezTo>
                  <a:pt x="5658" y="2358"/>
                  <a:pt x="5658" y="2358"/>
                  <a:pt x="5658" y="2359"/>
                </a:cubicBezTo>
                <a:cubicBezTo>
                  <a:pt x="5662" y="2372"/>
                  <a:pt x="5549" y="2792"/>
                  <a:pt x="5885" y="3326"/>
                </a:cubicBezTo>
                <a:cubicBezTo>
                  <a:pt x="6004" y="3541"/>
                  <a:pt x="6167" y="3775"/>
                  <a:pt x="6330" y="4051"/>
                </a:cubicBezTo>
                <a:cubicBezTo>
                  <a:pt x="6513" y="3272"/>
                  <a:pt x="6231" y="2638"/>
                  <a:pt x="6220" y="2638"/>
                </a:cubicBezTo>
                <a:lnTo>
                  <a:pt x="6220" y="2638"/>
                </a:lnTo>
                <a:cubicBezTo>
                  <a:pt x="6219" y="2637"/>
                  <a:pt x="6219" y="2637"/>
                  <a:pt x="6220" y="2637"/>
                </a:cubicBezTo>
                <a:cubicBezTo>
                  <a:pt x="6236" y="2637"/>
                  <a:pt x="6683" y="3326"/>
                  <a:pt x="6432" y="4230"/>
                </a:cubicBezTo>
                <a:cubicBezTo>
                  <a:pt x="6444" y="4252"/>
                  <a:pt x="6456" y="4273"/>
                  <a:pt x="6468" y="4295"/>
                </a:cubicBezTo>
                <a:cubicBezTo>
                  <a:pt x="6544" y="4433"/>
                  <a:pt x="6616" y="4599"/>
                  <a:pt x="6661" y="4781"/>
                </a:cubicBezTo>
                <a:cubicBezTo>
                  <a:pt x="6849" y="4441"/>
                  <a:pt x="7022" y="4133"/>
                  <a:pt x="7143" y="3839"/>
                </a:cubicBezTo>
                <a:cubicBezTo>
                  <a:pt x="7191" y="3729"/>
                  <a:pt x="7228" y="3622"/>
                  <a:pt x="7259" y="3519"/>
                </a:cubicBezTo>
                <a:cubicBezTo>
                  <a:pt x="7013" y="2983"/>
                  <a:pt x="6382" y="2767"/>
                  <a:pt x="6183" y="2342"/>
                </a:cubicBezTo>
                <a:cubicBezTo>
                  <a:pt x="6055" y="2226"/>
                  <a:pt x="5884" y="2166"/>
                  <a:pt x="5781" y="2065"/>
                </a:cubicBezTo>
                <a:cubicBezTo>
                  <a:pt x="5627" y="2060"/>
                  <a:pt x="5545" y="1954"/>
                  <a:pt x="5545" y="1954"/>
                </a:cubicBezTo>
                <a:lnTo>
                  <a:pt x="5545" y="1954"/>
                </a:lnTo>
                <a:cubicBezTo>
                  <a:pt x="5546" y="1954"/>
                  <a:pt x="5629" y="2032"/>
                  <a:pt x="5760" y="2041"/>
                </a:cubicBezTo>
                <a:cubicBezTo>
                  <a:pt x="5753" y="2032"/>
                  <a:pt x="5744" y="2025"/>
                  <a:pt x="5738" y="2016"/>
                </a:cubicBezTo>
                <a:cubicBezTo>
                  <a:pt x="5627" y="1863"/>
                  <a:pt x="5692" y="1743"/>
                  <a:pt x="5695" y="1726"/>
                </a:cubicBezTo>
                <a:cubicBezTo>
                  <a:pt x="5695" y="1725"/>
                  <a:pt x="5695" y="1724"/>
                  <a:pt x="5694" y="1724"/>
                </a:cubicBezTo>
                <a:lnTo>
                  <a:pt x="5694" y="1724"/>
                </a:lnTo>
                <a:cubicBezTo>
                  <a:pt x="5695" y="1724"/>
                  <a:pt x="5695" y="1724"/>
                  <a:pt x="5695" y="1726"/>
                </a:cubicBezTo>
                <a:cubicBezTo>
                  <a:pt x="5696" y="1743"/>
                  <a:pt x="5654" y="1867"/>
                  <a:pt x="5770" y="1990"/>
                </a:cubicBezTo>
                <a:cubicBezTo>
                  <a:pt x="5786" y="2010"/>
                  <a:pt x="5807" y="2027"/>
                  <a:pt x="5830" y="2044"/>
                </a:cubicBezTo>
                <a:cubicBezTo>
                  <a:pt x="5885" y="1843"/>
                  <a:pt x="5805" y="1678"/>
                  <a:pt x="5805" y="1677"/>
                </a:cubicBezTo>
                <a:cubicBezTo>
                  <a:pt x="5806" y="1679"/>
                  <a:pt x="5920" y="1842"/>
                  <a:pt x="5860" y="2062"/>
                </a:cubicBezTo>
                <a:cubicBezTo>
                  <a:pt x="5933" y="2106"/>
                  <a:pt x="6028" y="2143"/>
                  <a:pt x="6123" y="2200"/>
                </a:cubicBezTo>
                <a:cubicBezTo>
                  <a:pt x="6011" y="1857"/>
                  <a:pt x="6191" y="1644"/>
                  <a:pt x="6202" y="1623"/>
                </a:cubicBezTo>
                <a:cubicBezTo>
                  <a:pt x="6196" y="1647"/>
                  <a:pt x="6024" y="1932"/>
                  <a:pt x="6265" y="2284"/>
                </a:cubicBezTo>
                <a:cubicBezTo>
                  <a:pt x="6351" y="2451"/>
                  <a:pt x="6543" y="2573"/>
                  <a:pt x="6755" y="2720"/>
                </a:cubicBezTo>
                <a:cubicBezTo>
                  <a:pt x="6746" y="2566"/>
                  <a:pt x="6779" y="2425"/>
                  <a:pt x="6808" y="2300"/>
                </a:cubicBezTo>
                <a:cubicBezTo>
                  <a:pt x="6421" y="2015"/>
                  <a:pt x="6406" y="1595"/>
                  <a:pt x="6407" y="1592"/>
                </a:cubicBezTo>
                <a:cubicBezTo>
                  <a:pt x="6408" y="1592"/>
                  <a:pt x="6480" y="1967"/>
                  <a:pt x="6825" y="2226"/>
                </a:cubicBezTo>
                <a:cubicBezTo>
                  <a:pt x="6843" y="2138"/>
                  <a:pt x="6854" y="2059"/>
                  <a:pt x="6837" y="1990"/>
                </a:cubicBezTo>
                <a:cubicBezTo>
                  <a:pt x="6805" y="1768"/>
                  <a:pt x="6643" y="1709"/>
                  <a:pt x="6626" y="1694"/>
                </a:cubicBezTo>
                <a:cubicBezTo>
                  <a:pt x="6646" y="1705"/>
                  <a:pt x="6824" y="1738"/>
                  <a:pt x="6890" y="1978"/>
                </a:cubicBezTo>
                <a:cubicBezTo>
                  <a:pt x="6961" y="2210"/>
                  <a:pt x="6813" y="2510"/>
                  <a:pt x="6871" y="2804"/>
                </a:cubicBezTo>
                <a:cubicBezTo>
                  <a:pt x="7032" y="2921"/>
                  <a:pt x="7194" y="3061"/>
                  <a:pt x="7326" y="3250"/>
                </a:cubicBezTo>
                <a:cubicBezTo>
                  <a:pt x="7465" y="2495"/>
                  <a:pt x="7185" y="1991"/>
                  <a:pt x="7177" y="1936"/>
                </a:cubicBezTo>
                <a:cubicBezTo>
                  <a:pt x="7204" y="2000"/>
                  <a:pt x="7730" y="2621"/>
                  <a:pt x="7496" y="3731"/>
                </a:cubicBezTo>
                <a:cubicBezTo>
                  <a:pt x="7773" y="3382"/>
                  <a:pt x="7835" y="2907"/>
                  <a:pt x="8055" y="2608"/>
                </a:cubicBezTo>
                <a:cubicBezTo>
                  <a:pt x="8021" y="2258"/>
                  <a:pt x="8233" y="2038"/>
                  <a:pt x="8234" y="2038"/>
                </a:cubicBezTo>
                <a:cubicBezTo>
                  <a:pt x="8234" y="2038"/>
                  <a:pt x="8234" y="2038"/>
                  <a:pt x="8234" y="2038"/>
                </a:cubicBezTo>
                <a:cubicBezTo>
                  <a:pt x="8234" y="2038"/>
                  <a:pt x="8088" y="2250"/>
                  <a:pt x="8104" y="2547"/>
                </a:cubicBezTo>
                <a:cubicBezTo>
                  <a:pt x="8119" y="2530"/>
                  <a:pt x="8135" y="2513"/>
                  <a:pt x="8151" y="2498"/>
                </a:cubicBezTo>
                <a:cubicBezTo>
                  <a:pt x="8331" y="2317"/>
                  <a:pt x="8508" y="2275"/>
                  <a:pt x="8634" y="2275"/>
                </a:cubicBezTo>
                <a:cubicBezTo>
                  <a:pt x="8736" y="2275"/>
                  <a:pt x="8806" y="2302"/>
                  <a:pt x="8817" y="2304"/>
                </a:cubicBezTo>
                <a:lnTo>
                  <a:pt x="8817" y="2304"/>
                </a:lnTo>
                <a:cubicBezTo>
                  <a:pt x="8808" y="2304"/>
                  <a:pt x="8775" y="2298"/>
                  <a:pt x="8725" y="2298"/>
                </a:cubicBezTo>
                <a:cubicBezTo>
                  <a:pt x="8608" y="2298"/>
                  <a:pt x="8401" y="2332"/>
                  <a:pt x="8224" y="2563"/>
                </a:cubicBezTo>
                <a:cubicBezTo>
                  <a:pt x="8179" y="2608"/>
                  <a:pt x="8143" y="2666"/>
                  <a:pt x="8112" y="2730"/>
                </a:cubicBezTo>
                <a:cubicBezTo>
                  <a:pt x="8168" y="2737"/>
                  <a:pt x="8223" y="2740"/>
                  <a:pt x="8276" y="2740"/>
                </a:cubicBezTo>
                <a:cubicBezTo>
                  <a:pt x="8681" y="2740"/>
                  <a:pt x="8963" y="2544"/>
                  <a:pt x="8964" y="2544"/>
                </a:cubicBezTo>
                <a:lnTo>
                  <a:pt x="8964" y="2545"/>
                </a:lnTo>
                <a:lnTo>
                  <a:pt x="8964" y="2544"/>
                </a:lnTo>
                <a:cubicBezTo>
                  <a:pt x="8966" y="2544"/>
                  <a:pt x="8686" y="2815"/>
                  <a:pt x="8234" y="2815"/>
                </a:cubicBezTo>
                <a:cubicBezTo>
                  <a:pt x="8184" y="2815"/>
                  <a:pt x="8132" y="2812"/>
                  <a:pt x="8079" y="2804"/>
                </a:cubicBezTo>
                <a:cubicBezTo>
                  <a:pt x="7938" y="3158"/>
                  <a:pt x="7892" y="3690"/>
                  <a:pt x="7422" y="4076"/>
                </a:cubicBezTo>
                <a:lnTo>
                  <a:pt x="7412" y="4062"/>
                </a:lnTo>
                <a:cubicBezTo>
                  <a:pt x="7325" y="4360"/>
                  <a:pt x="7188" y="4677"/>
                  <a:pt x="7042" y="5009"/>
                </a:cubicBezTo>
                <a:cubicBezTo>
                  <a:pt x="7022" y="5057"/>
                  <a:pt x="7001" y="5105"/>
                  <a:pt x="6979" y="5154"/>
                </a:cubicBezTo>
                <a:cubicBezTo>
                  <a:pt x="7014" y="5122"/>
                  <a:pt x="7049" y="5093"/>
                  <a:pt x="7084" y="5064"/>
                </a:cubicBezTo>
                <a:cubicBezTo>
                  <a:pt x="7271" y="4909"/>
                  <a:pt x="7468" y="4783"/>
                  <a:pt x="7658" y="4671"/>
                </a:cubicBezTo>
                <a:cubicBezTo>
                  <a:pt x="8358" y="3851"/>
                  <a:pt x="8327" y="2889"/>
                  <a:pt x="8315" y="2889"/>
                </a:cubicBezTo>
                <a:cubicBezTo>
                  <a:pt x="8315" y="2889"/>
                  <a:pt x="8315" y="2889"/>
                  <a:pt x="8314" y="2889"/>
                </a:cubicBezTo>
                <a:cubicBezTo>
                  <a:pt x="8315" y="2888"/>
                  <a:pt x="8315" y="2888"/>
                  <a:pt x="8315" y="2888"/>
                </a:cubicBezTo>
                <a:cubicBezTo>
                  <a:pt x="8330" y="2888"/>
                  <a:pt x="8481" y="3666"/>
                  <a:pt x="8011" y="4465"/>
                </a:cubicBezTo>
                <a:cubicBezTo>
                  <a:pt x="8246" y="4324"/>
                  <a:pt x="8444" y="4184"/>
                  <a:pt x="8555" y="3997"/>
                </a:cubicBezTo>
                <a:cubicBezTo>
                  <a:pt x="8982" y="3463"/>
                  <a:pt x="8741" y="2985"/>
                  <a:pt x="8733" y="2947"/>
                </a:cubicBezTo>
                <a:cubicBezTo>
                  <a:pt x="8750" y="2984"/>
                  <a:pt x="9083" y="3438"/>
                  <a:pt x="8686" y="4087"/>
                </a:cubicBezTo>
                <a:cubicBezTo>
                  <a:pt x="8426" y="4582"/>
                  <a:pt x="7775" y="4851"/>
                  <a:pt x="7272" y="5295"/>
                </a:cubicBezTo>
                <a:cubicBezTo>
                  <a:pt x="7225" y="5337"/>
                  <a:pt x="7178" y="5380"/>
                  <a:pt x="7134" y="5426"/>
                </a:cubicBezTo>
                <a:cubicBezTo>
                  <a:pt x="7192" y="5391"/>
                  <a:pt x="7251" y="5362"/>
                  <a:pt x="7309" y="5334"/>
                </a:cubicBezTo>
                <a:cubicBezTo>
                  <a:pt x="7752" y="5126"/>
                  <a:pt x="8205" y="5087"/>
                  <a:pt x="8548" y="4997"/>
                </a:cubicBezTo>
                <a:cubicBezTo>
                  <a:pt x="8550" y="4996"/>
                  <a:pt x="8553" y="4996"/>
                  <a:pt x="8555" y="4995"/>
                </a:cubicBezTo>
                <a:cubicBezTo>
                  <a:pt x="8611" y="4880"/>
                  <a:pt x="8679" y="4783"/>
                  <a:pt x="8754" y="4697"/>
                </a:cubicBezTo>
                <a:cubicBezTo>
                  <a:pt x="8784" y="3861"/>
                  <a:pt x="9390" y="3444"/>
                  <a:pt x="9410" y="3444"/>
                </a:cubicBezTo>
                <a:cubicBezTo>
                  <a:pt x="9411" y="3444"/>
                  <a:pt x="9411" y="3444"/>
                  <a:pt x="9410" y="3445"/>
                </a:cubicBezTo>
                <a:cubicBezTo>
                  <a:pt x="9410" y="3445"/>
                  <a:pt x="9410" y="3445"/>
                  <a:pt x="9410" y="3445"/>
                </a:cubicBezTo>
                <a:cubicBezTo>
                  <a:pt x="9397" y="3445"/>
                  <a:pt x="8945" y="3873"/>
                  <a:pt x="8879" y="4572"/>
                </a:cubicBezTo>
                <a:cubicBezTo>
                  <a:pt x="9149" y="4326"/>
                  <a:pt x="9457" y="4189"/>
                  <a:pt x="9564" y="3970"/>
                </a:cubicBezTo>
                <a:cubicBezTo>
                  <a:pt x="9771" y="3655"/>
                  <a:pt x="9615" y="3405"/>
                  <a:pt x="9608" y="3384"/>
                </a:cubicBezTo>
                <a:cubicBezTo>
                  <a:pt x="9619" y="3404"/>
                  <a:pt x="9826" y="3636"/>
                  <a:pt x="9642" y="4013"/>
                </a:cubicBezTo>
                <a:cubicBezTo>
                  <a:pt x="9618" y="4069"/>
                  <a:pt x="9584" y="4121"/>
                  <a:pt x="9546" y="4171"/>
                </a:cubicBezTo>
                <a:cubicBezTo>
                  <a:pt x="9981" y="3975"/>
                  <a:pt x="10179" y="3615"/>
                  <a:pt x="10180" y="3615"/>
                </a:cubicBezTo>
                <a:cubicBezTo>
                  <a:pt x="10180" y="3615"/>
                  <a:pt x="10180" y="3615"/>
                  <a:pt x="10180" y="3615"/>
                </a:cubicBezTo>
                <a:cubicBezTo>
                  <a:pt x="10181" y="3615"/>
                  <a:pt x="10000" y="4122"/>
                  <a:pt x="9415" y="4313"/>
                </a:cubicBezTo>
                <a:cubicBezTo>
                  <a:pt x="9208" y="4511"/>
                  <a:pt x="8932" y="4690"/>
                  <a:pt x="8767" y="4963"/>
                </a:cubicBezTo>
                <a:cubicBezTo>
                  <a:pt x="9792" y="4779"/>
                  <a:pt x="10260" y="4306"/>
                  <a:pt x="10244" y="4289"/>
                </a:cubicBezTo>
                <a:cubicBezTo>
                  <a:pt x="10283" y="4289"/>
                  <a:pt x="9816" y="4987"/>
                  <a:pt x="8631" y="5305"/>
                </a:cubicBezTo>
                <a:cubicBezTo>
                  <a:pt x="8516" y="5347"/>
                  <a:pt x="8390" y="5388"/>
                  <a:pt x="8262" y="5433"/>
                </a:cubicBezTo>
                <a:cubicBezTo>
                  <a:pt x="8571" y="5470"/>
                  <a:pt x="8858" y="5547"/>
                  <a:pt x="9118" y="5607"/>
                </a:cubicBezTo>
                <a:cubicBezTo>
                  <a:pt x="9529" y="5140"/>
                  <a:pt x="10128" y="5156"/>
                  <a:pt x="10363" y="4891"/>
                </a:cubicBezTo>
                <a:cubicBezTo>
                  <a:pt x="10647" y="4643"/>
                  <a:pt x="10563" y="4360"/>
                  <a:pt x="10562" y="4338"/>
                </a:cubicBezTo>
                <a:cubicBezTo>
                  <a:pt x="10567" y="4360"/>
                  <a:pt x="10704" y="4639"/>
                  <a:pt x="10426" y="4953"/>
                </a:cubicBezTo>
                <a:cubicBezTo>
                  <a:pt x="10184" y="5255"/>
                  <a:pt x="9654" y="5315"/>
                  <a:pt x="9315" y="5649"/>
                </a:cubicBezTo>
                <a:cubicBezTo>
                  <a:pt x="9433" y="5671"/>
                  <a:pt x="9547" y="5685"/>
                  <a:pt x="9653" y="5685"/>
                </a:cubicBezTo>
                <a:cubicBezTo>
                  <a:pt x="9738" y="5685"/>
                  <a:pt x="9818" y="5676"/>
                  <a:pt x="9895" y="5654"/>
                </a:cubicBezTo>
                <a:cubicBezTo>
                  <a:pt x="10573" y="5560"/>
                  <a:pt x="10725" y="5048"/>
                  <a:pt x="10747" y="5015"/>
                </a:cubicBezTo>
                <a:cubicBezTo>
                  <a:pt x="10733" y="5051"/>
                  <a:pt x="10667" y="5566"/>
                  <a:pt x="10013" y="5784"/>
                </a:cubicBezTo>
                <a:cubicBezTo>
                  <a:pt x="10174" y="5838"/>
                  <a:pt x="10328" y="5857"/>
                  <a:pt x="10462" y="5857"/>
                </a:cubicBezTo>
                <a:cubicBezTo>
                  <a:pt x="10744" y="5857"/>
                  <a:pt x="10941" y="5775"/>
                  <a:pt x="10932" y="5773"/>
                </a:cubicBezTo>
                <a:lnTo>
                  <a:pt x="10932" y="5773"/>
                </a:lnTo>
                <a:cubicBezTo>
                  <a:pt x="10944" y="5773"/>
                  <a:pt x="10705" y="5922"/>
                  <a:pt x="10356" y="5922"/>
                </a:cubicBezTo>
                <a:cubicBezTo>
                  <a:pt x="10211" y="5922"/>
                  <a:pt x="10047" y="5897"/>
                  <a:pt x="9874" y="5825"/>
                </a:cubicBezTo>
                <a:cubicBezTo>
                  <a:pt x="9752" y="5860"/>
                  <a:pt x="9623" y="5873"/>
                  <a:pt x="9489" y="5873"/>
                </a:cubicBezTo>
                <a:cubicBezTo>
                  <a:pt x="9099" y="5873"/>
                  <a:pt x="8667" y="5760"/>
                  <a:pt x="8224" y="5725"/>
                </a:cubicBezTo>
                <a:cubicBezTo>
                  <a:pt x="8143" y="5718"/>
                  <a:pt x="8062" y="5714"/>
                  <a:pt x="7980" y="5714"/>
                </a:cubicBezTo>
                <a:cubicBezTo>
                  <a:pt x="7815" y="5714"/>
                  <a:pt x="7650" y="5729"/>
                  <a:pt x="7485" y="5770"/>
                </a:cubicBezTo>
                <a:cubicBezTo>
                  <a:pt x="7296" y="5886"/>
                  <a:pt x="7130" y="6028"/>
                  <a:pt x="7016" y="6214"/>
                </a:cubicBezTo>
                <a:cubicBezTo>
                  <a:pt x="6791" y="6592"/>
                  <a:pt x="6820" y="7128"/>
                  <a:pt x="6952" y="7693"/>
                </a:cubicBezTo>
                <a:lnTo>
                  <a:pt x="7347" y="7693"/>
                </a:lnTo>
                <a:cubicBezTo>
                  <a:pt x="7238" y="7258"/>
                  <a:pt x="7162" y="6723"/>
                  <a:pt x="7347" y="6411"/>
                </a:cubicBezTo>
                <a:cubicBezTo>
                  <a:pt x="7408" y="6312"/>
                  <a:pt x="7504" y="6219"/>
                  <a:pt x="7636" y="6132"/>
                </a:cubicBezTo>
                <a:cubicBezTo>
                  <a:pt x="7742" y="6110"/>
                  <a:pt x="7855" y="6100"/>
                  <a:pt x="7980" y="6100"/>
                </a:cubicBezTo>
                <a:cubicBezTo>
                  <a:pt x="8211" y="6100"/>
                  <a:pt x="8454" y="6136"/>
                  <a:pt x="8690" y="6173"/>
                </a:cubicBezTo>
                <a:cubicBezTo>
                  <a:pt x="8729" y="6201"/>
                  <a:pt x="8769" y="6227"/>
                  <a:pt x="8809" y="6252"/>
                </a:cubicBezTo>
                <a:cubicBezTo>
                  <a:pt x="8786" y="6287"/>
                  <a:pt x="8772" y="6322"/>
                  <a:pt x="8774" y="6363"/>
                </a:cubicBezTo>
                <a:cubicBezTo>
                  <a:pt x="8779" y="6469"/>
                  <a:pt x="8838" y="6540"/>
                  <a:pt x="8886" y="6623"/>
                </a:cubicBezTo>
                <a:cubicBezTo>
                  <a:pt x="8926" y="6536"/>
                  <a:pt x="8978" y="6460"/>
                  <a:pt x="8974" y="6354"/>
                </a:cubicBezTo>
                <a:cubicBezTo>
                  <a:pt x="8974" y="6352"/>
                  <a:pt x="8973" y="6349"/>
                  <a:pt x="8972" y="6347"/>
                </a:cubicBezTo>
                <a:cubicBezTo>
                  <a:pt x="8983" y="6352"/>
                  <a:pt x="8994" y="6358"/>
                  <a:pt x="9004" y="6364"/>
                </a:cubicBezTo>
                <a:cubicBezTo>
                  <a:pt x="9008" y="6418"/>
                  <a:pt x="9023" y="6467"/>
                  <a:pt x="9056" y="6514"/>
                </a:cubicBezTo>
                <a:cubicBezTo>
                  <a:pt x="9161" y="6662"/>
                  <a:pt x="9311" y="6709"/>
                  <a:pt x="9456" y="6783"/>
                </a:cubicBezTo>
                <a:cubicBezTo>
                  <a:pt x="9444" y="6702"/>
                  <a:pt x="9440" y="6622"/>
                  <a:pt x="9425" y="6543"/>
                </a:cubicBezTo>
                <a:cubicBezTo>
                  <a:pt x="9443" y="6549"/>
                  <a:pt x="9460" y="6555"/>
                  <a:pt x="9477" y="6561"/>
                </a:cubicBezTo>
                <a:cubicBezTo>
                  <a:pt x="9476" y="6572"/>
                  <a:pt x="9474" y="6582"/>
                  <a:pt x="9474" y="6593"/>
                </a:cubicBezTo>
                <a:cubicBezTo>
                  <a:pt x="9479" y="6700"/>
                  <a:pt x="9539" y="6770"/>
                  <a:pt x="9586" y="6853"/>
                </a:cubicBezTo>
                <a:cubicBezTo>
                  <a:pt x="9613" y="6796"/>
                  <a:pt x="9644" y="6742"/>
                  <a:pt x="9661" y="6683"/>
                </a:cubicBezTo>
                <a:cubicBezTo>
                  <a:pt x="9755" y="6837"/>
                  <a:pt x="9901" y="6894"/>
                  <a:pt x="10038" y="6979"/>
                </a:cubicBezTo>
                <a:cubicBezTo>
                  <a:pt x="10032" y="6878"/>
                  <a:pt x="10036" y="6779"/>
                  <a:pt x="10017" y="6682"/>
                </a:cubicBezTo>
                <a:cubicBezTo>
                  <a:pt x="10018" y="6682"/>
                  <a:pt x="10020" y="6682"/>
                  <a:pt x="10021" y="6683"/>
                </a:cubicBezTo>
                <a:cubicBezTo>
                  <a:pt x="10135" y="6819"/>
                  <a:pt x="10287" y="6855"/>
                  <a:pt x="10434" y="6918"/>
                </a:cubicBezTo>
                <a:cubicBezTo>
                  <a:pt x="10424" y="6872"/>
                  <a:pt x="10417" y="6825"/>
                  <a:pt x="10408" y="6779"/>
                </a:cubicBezTo>
                <a:cubicBezTo>
                  <a:pt x="10507" y="6875"/>
                  <a:pt x="10629" y="6918"/>
                  <a:pt x="10748" y="6980"/>
                </a:cubicBezTo>
                <a:cubicBezTo>
                  <a:pt x="10735" y="6882"/>
                  <a:pt x="10731" y="6787"/>
                  <a:pt x="10708" y="6693"/>
                </a:cubicBezTo>
                <a:cubicBezTo>
                  <a:pt x="10708" y="6694"/>
                  <a:pt x="10708" y="6694"/>
                  <a:pt x="10709" y="6695"/>
                </a:cubicBezTo>
                <a:cubicBezTo>
                  <a:pt x="10793" y="6760"/>
                  <a:pt x="10886" y="6761"/>
                  <a:pt x="10979" y="6779"/>
                </a:cubicBezTo>
                <a:cubicBezTo>
                  <a:pt x="10972" y="6763"/>
                  <a:pt x="10966" y="6747"/>
                  <a:pt x="10959" y="6731"/>
                </a:cubicBezTo>
                <a:cubicBezTo>
                  <a:pt x="11093" y="6756"/>
                  <a:pt x="11219" y="6724"/>
                  <a:pt x="11351" y="6709"/>
                </a:cubicBezTo>
                <a:cubicBezTo>
                  <a:pt x="11309" y="6662"/>
                  <a:pt x="11269" y="6613"/>
                  <a:pt x="11228" y="6566"/>
                </a:cubicBezTo>
                <a:cubicBezTo>
                  <a:pt x="11231" y="6567"/>
                  <a:pt x="11234" y="6569"/>
                  <a:pt x="11237" y="6570"/>
                </a:cubicBezTo>
                <a:cubicBezTo>
                  <a:pt x="11342" y="6592"/>
                  <a:pt x="11425" y="6552"/>
                  <a:pt x="11517" y="6527"/>
                </a:cubicBezTo>
                <a:cubicBezTo>
                  <a:pt x="11451" y="6472"/>
                  <a:pt x="11394" y="6412"/>
                  <a:pt x="11307" y="6384"/>
                </a:cubicBezTo>
                <a:cubicBezTo>
                  <a:pt x="11320" y="6375"/>
                  <a:pt x="11333" y="6367"/>
                  <a:pt x="11345" y="6358"/>
                </a:cubicBezTo>
                <a:cubicBezTo>
                  <a:pt x="11354" y="6365"/>
                  <a:pt x="11362" y="6372"/>
                  <a:pt x="11372" y="6378"/>
                </a:cubicBezTo>
                <a:cubicBezTo>
                  <a:pt x="11510" y="6452"/>
                  <a:pt x="11645" y="6430"/>
                  <a:pt x="11787" y="6432"/>
                </a:cubicBezTo>
                <a:cubicBezTo>
                  <a:pt x="11725" y="6342"/>
                  <a:pt x="11676" y="6248"/>
                  <a:pt x="11594" y="6176"/>
                </a:cubicBezTo>
                <a:cubicBezTo>
                  <a:pt x="11654" y="6177"/>
                  <a:pt x="11714" y="6174"/>
                  <a:pt x="11776" y="6175"/>
                </a:cubicBezTo>
                <a:cubicBezTo>
                  <a:pt x="11747" y="6133"/>
                  <a:pt x="11721" y="6091"/>
                  <a:pt x="11693" y="6050"/>
                </a:cubicBezTo>
                <a:cubicBezTo>
                  <a:pt x="11694" y="6049"/>
                  <a:pt x="11695" y="6047"/>
                  <a:pt x="11696" y="6046"/>
                </a:cubicBezTo>
                <a:cubicBezTo>
                  <a:pt x="11811" y="6085"/>
                  <a:pt x="11925" y="6073"/>
                  <a:pt x="12043" y="6074"/>
                </a:cubicBezTo>
                <a:cubicBezTo>
                  <a:pt x="12010" y="6025"/>
                  <a:pt x="11979" y="5974"/>
                  <a:pt x="11945" y="5926"/>
                </a:cubicBezTo>
                <a:cubicBezTo>
                  <a:pt x="12047" y="5931"/>
                  <a:pt x="12146" y="5912"/>
                  <a:pt x="12248" y="5904"/>
                </a:cubicBezTo>
                <a:cubicBezTo>
                  <a:pt x="12177" y="5818"/>
                  <a:pt x="12116" y="5729"/>
                  <a:pt x="12032" y="5658"/>
                </a:cubicBezTo>
                <a:cubicBezTo>
                  <a:pt x="12039" y="5660"/>
                  <a:pt x="12045" y="5664"/>
                  <a:pt x="12052" y="5665"/>
                </a:cubicBezTo>
                <a:cubicBezTo>
                  <a:pt x="12157" y="5687"/>
                  <a:pt x="12241" y="5648"/>
                  <a:pt x="12332" y="5623"/>
                </a:cubicBezTo>
                <a:cubicBezTo>
                  <a:pt x="12259" y="5562"/>
                  <a:pt x="12199" y="5492"/>
                  <a:pt x="12094" y="5470"/>
                </a:cubicBezTo>
                <a:cubicBezTo>
                  <a:pt x="12092" y="5469"/>
                  <a:pt x="12089" y="5469"/>
                  <a:pt x="12086" y="5469"/>
                </a:cubicBezTo>
                <a:cubicBezTo>
                  <a:pt x="12127" y="5459"/>
                  <a:pt x="12167" y="5445"/>
                  <a:pt x="12210" y="5433"/>
                </a:cubicBezTo>
                <a:cubicBezTo>
                  <a:pt x="12171" y="5401"/>
                  <a:pt x="12136" y="5367"/>
                  <a:pt x="12096" y="5338"/>
                </a:cubicBezTo>
                <a:cubicBezTo>
                  <a:pt x="12097" y="5337"/>
                  <a:pt x="12097" y="5337"/>
                  <a:pt x="12097" y="5336"/>
                </a:cubicBezTo>
                <a:cubicBezTo>
                  <a:pt x="12110" y="5343"/>
                  <a:pt x="12125" y="5349"/>
                  <a:pt x="12142" y="5353"/>
                </a:cubicBezTo>
                <a:cubicBezTo>
                  <a:pt x="12246" y="5375"/>
                  <a:pt x="12330" y="5335"/>
                  <a:pt x="12422" y="5310"/>
                </a:cubicBezTo>
                <a:cubicBezTo>
                  <a:pt x="12348" y="5249"/>
                  <a:pt x="12288" y="5179"/>
                  <a:pt x="12184" y="5157"/>
                </a:cubicBezTo>
                <a:cubicBezTo>
                  <a:pt x="12172" y="5154"/>
                  <a:pt x="12162" y="5155"/>
                  <a:pt x="12151" y="5155"/>
                </a:cubicBezTo>
                <a:cubicBezTo>
                  <a:pt x="12213" y="5148"/>
                  <a:pt x="12271" y="5126"/>
                  <a:pt x="12332" y="5109"/>
                </a:cubicBezTo>
                <a:cubicBezTo>
                  <a:pt x="12278" y="5064"/>
                  <a:pt x="12231" y="5015"/>
                  <a:pt x="12169" y="4983"/>
                </a:cubicBezTo>
                <a:cubicBezTo>
                  <a:pt x="12172" y="4958"/>
                  <a:pt x="12173" y="4933"/>
                  <a:pt x="12175" y="4908"/>
                </a:cubicBezTo>
                <a:cubicBezTo>
                  <a:pt x="12298" y="4898"/>
                  <a:pt x="12400" y="4840"/>
                  <a:pt x="12510" y="4793"/>
                </a:cubicBezTo>
                <a:cubicBezTo>
                  <a:pt x="12403" y="4726"/>
                  <a:pt x="12307" y="4649"/>
                  <a:pt x="12175" y="4625"/>
                </a:cubicBezTo>
                <a:lnTo>
                  <a:pt x="12175" y="4625"/>
                </a:lnTo>
                <a:cubicBezTo>
                  <a:pt x="12260" y="4601"/>
                  <a:pt x="12338" y="4560"/>
                  <a:pt x="12421" y="4525"/>
                </a:cubicBezTo>
                <a:cubicBezTo>
                  <a:pt x="12345" y="4478"/>
                  <a:pt x="12274" y="4426"/>
                  <a:pt x="12194" y="4390"/>
                </a:cubicBezTo>
                <a:cubicBezTo>
                  <a:pt x="12311" y="4320"/>
                  <a:pt x="12372" y="4212"/>
                  <a:pt x="12450" y="4109"/>
                </a:cubicBezTo>
                <a:cubicBezTo>
                  <a:pt x="12338" y="4106"/>
                  <a:pt x="12232" y="4089"/>
                  <a:pt x="12121" y="4115"/>
                </a:cubicBezTo>
                <a:cubicBezTo>
                  <a:pt x="12153" y="4073"/>
                  <a:pt x="12183" y="4030"/>
                  <a:pt x="12215" y="3987"/>
                </a:cubicBezTo>
                <a:cubicBezTo>
                  <a:pt x="12146" y="3984"/>
                  <a:pt x="12078" y="3976"/>
                  <a:pt x="12010" y="3977"/>
                </a:cubicBezTo>
                <a:cubicBezTo>
                  <a:pt x="12008" y="3972"/>
                  <a:pt x="12007" y="3967"/>
                  <a:pt x="12004" y="3962"/>
                </a:cubicBezTo>
                <a:cubicBezTo>
                  <a:pt x="12092" y="3860"/>
                  <a:pt x="12116" y="3739"/>
                  <a:pt x="12157" y="3618"/>
                </a:cubicBezTo>
                <a:cubicBezTo>
                  <a:pt x="12062" y="3645"/>
                  <a:pt x="11967" y="3663"/>
                  <a:pt x="11879" y="3708"/>
                </a:cubicBezTo>
                <a:cubicBezTo>
                  <a:pt x="11894" y="3664"/>
                  <a:pt x="11907" y="3618"/>
                  <a:pt x="11922" y="3573"/>
                </a:cubicBezTo>
                <a:cubicBezTo>
                  <a:pt x="11878" y="3586"/>
                  <a:pt x="11834" y="3597"/>
                  <a:pt x="11790" y="3609"/>
                </a:cubicBezTo>
                <a:cubicBezTo>
                  <a:pt x="11782" y="3599"/>
                  <a:pt x="11775" y="3588"/>
                  <a:pt x="11766" y="3577"/>
                </a:cubicBezTo>
                <a:cubicBezTo>
                  <a:pt x="11814" y="3492"/>
                  <a:pt x="11835" y="3398"/>
                  <a:pt x="11867" y="3305"/>
                </a:cubicBezTo>
                <a:cubicBezTo>
                  <a:pt x="11788" y="3328"/>
                  <a:pt x="11711" y="3345"/>
                  <a:pt x="11637" y="3374"/>
                </a:cubicBezTo>
                <a:cubicBezTo>
                  <a:pt x="11655" y="3322"/>
                  <a:pt x="11670" y="3269"/>
                  <a:pt x="11688" y="3216"/>
                </a:cubicBezTo>
                <a:cubicBezTo>
                  <a:pt x="11615" y="3237"/>
                  <a:pt x="11542" y="3253"/>
                  <a:pt x="11472" y="3279"/>
                </a:cubicBezTo>
                <a:cubicBezTo>
                  <a:pt x="11470" y="3277"/>
                  <a:pt x="11467" y="3275"/>
                  <a:pt x="11464" y="3272"/>
                </a:cubicBezTo>
                <a:cubicBezTo>
                  <a:pt x="11533" y="3219"/>
                  <a:pt x="11588" y="3154"/>
                  <a:pt x="11650" y="3092"/>
                </a:cubicBezTo>
                <a:cubicBezTo>
                  <a:pt x="11511" y="3067"/>
                  <a:pt x="11383" y="3021"/>
                  <a:pt x="11232" y="3069"/>
                </a:cubicBezTo>
                <a:cubicBezTo>
                  <a:pt x="11218" y="3074"/>
                  <a:pt x="11205" y="3082"/>
                  <a:pt x="11192" y="3089"/>
                </a:cubicBezTo>
                <a:cubicBezTo>
                  <a:pt x="11181" y="3082"/>
                  <a:pt x="11170" y="3076"/>
                  <a:pt x="11159" y="3070"/>
                </a:cubicBezTo>
                <a:cubicBezTo>
                  <a:pt x="11172" y="3003"/>
                  <a:pt x="11177" y="2933"/>
                  <a:pt x="11187" y="2864"/>
                </a:cubicBezTo>
                <a:cubicBezTo>
                  <a:pt x="11111" y="2902"/>
                  <a:pt x="11033" y="2933"/>
                  <a:pt x="10963" y="2978"/>
                </a:cubicBezTo>
                <a:cubicBezTo>
                  <a:pt x="10961" y="2977"/>
                  <a:pt x="10959" y="2976"/>
                  <a:pt x="10956" y="2975"/>
                </a:cubicBezTo>
                <a:cubicBezTo>
                  <a:pt x="10982" y="2941"/>
                  <a:pt x="11006" y="2907"/>
                  <a:pt x="11033" y="2872"/>
                </a:cubicBezTo>
                <a:cubicBezTo>
                  <a:pt x="10996" y="2871"/>
                  <a:pt x="10959" y="2868"/>
                  <a:pt x="10922" y="2865"/>
                </a:cubicBezTo>
                <a:cubicBezTo>
                  <a:pt x="10976" y="2810"/>
                  <a:pt x="10998" y="2741"/>
                  <a:pt x="11030" y="2673"/>
                </a:cubicBezTo>
                <a:cubicBezTo>
                  <a:pt x="10973" y="2684"/>
                  <a:pt x="10918" y="2689"/>
                  <a:pt x="10864" y="2708"/>
                </a:cubicBezTo>
                <a:cubicBezTo>
                  <a:pt x="10887" y="2677"/>
                  <a:pt x="10909" y="2646"/>
                  <a:pt x="10932" y="2615"/>
                </a:cubicBezTo>
                <a:cubicBezTo>
                  <a:pt x="10836" y="2611"/>
                  <a:pt x="10744" y="2599"/>
                  <a:pt x="10650" y="2611"/>
                </a:cubicBezTo>
                <a:cubicBezTo>
                  <a:pt x="10668" y="2569"/>
                  <a:pt x="10686" y="2526"/>
                  <a:pt x="10705" y="2484"/>
                </a:cubicBezTo>
                <a:cubicBezTo>
                  <a:pt x="10648" y="2495"/>
                  <a:pt x="10591" y="2502"/>
                  <a:pt x="10536" y="2512"/>
                </a:cubicBezTo>
                <a:cubicBezTo>
                  <a:pt x="10532" y="2503"/>
                  <a:pt x="10528" y="2494"/>
                  <a:pt x="10524" y="2485"/>
                </a:cubicBezTo>
                <a:cubicBezTo>
                  <a:pt x="10567" y="2484"/>
                  <a:pt x="10602" y="2477"/>
                  <a:pt x="10634" y="2452"/>
                </a:cubicBezTo>
                <a:cubicBezTo>
                  <a:pt x="10709" y="2394"/>
                  <a:pt x="10730" y="2314"/>
                  <a:pt x="10766" y="2236"/>
                </a:cubicBezTo>
                <a:cubicBezTo>
                  <a:pt x="10690" y="2250"/>
                  <a:pt x="10617" y="2254"/>
                  <a:pt x="10548" y="2296"/>
                </a:cubicBezTo>
                <a:cubicBezTo>
                  <a:pt x="10553" y="2241"/>
                  <a:pt x="10557" y="2185"/>
                  <a:pt x="10563" y="2129"/>
                </a:cubicBezTo>
                <a:cubicBezTo>
                  <a:pt x="10506" y="2160"/>
                  <a:pt x="10448" y="2188"/>
                  <a:pt x="10391" y="2217"/>
                </a:cubicBezTo>
                <a:cubicBezTo>
                  <a:pt x="10434" y="2170"/>
                  <a:pt x="10476" y="2120"/>
                  <a:pt x="10521" y="2072"/>
                </a:cubicBezTo>
                <a:cubicBezTo>
                  <a:pt x="10465" y="2064"/>
                  <a:pt x="10409" y="2054"/>
                  <a:pt x="10354" y="2044"/>
                </a:cubicBezTo>
                <a:cubicBezTo>
                  <a:pt x="10372" y="2007"/>
                  <a:pt x="10386" y="1967"/>
                  <a:pt x="10402" y="1928"/>
                </a:cubicBezTo>
                <a:cubicBezTo>
                  <a:pt x="10338" y="1942"/>
                  <a:pt x="10274" y="1947"/>
                  <a:pt x="10214" y="1976"/>
                </a:cubicBezTo>
                <a:cubicBezTo>
                  <a:pt x="10206" y="1966"/>
                  <a:pt x="10197" y="1956"/>
                  <a:pt x="10188" y="1945"/>
                </a:cubicBezTo>
                <a:cubicBezTo>
                  <a:pt x="10250" y="1886"/>
                  <a:pt x="10271" y="1812"/>
                  <a:pt x="10302" y="1738"/>
                </a:cubicBezTo>
                <a:cubicBezTo>
                  <a:pt x="10258" y="1748"/>
                  <a:pt x="10215" y="1753"/>
                  <a:pt x="10172" y="1765"/>
                </a:cubicBezTo>
                <a:cubicBezTo>
                  <a:pt x="10188" y="1693"/>
                  <a:pt x="10194" y="1620"/>
                  <a:pt x="10205" y="1546"/>
                </a:cubicBezTo>
                <a:cubicBezTo>
                  <a:pt x="10108" y="1594"/>
                  <a:pt x="10009" y="1629"/>
                  <a:pt x="9927" y="1699"/>
                </a:cubicBezTo>
                <a:cubicBezTo>
                  <a:pt x="9925" y="1698"/>
                  <a:pt x="9924" y="1697"/>
                  <a:pt x="9922" y="1696"/>
                </a:cubicBezTo>
                <a:cubicBezTo>
                  <a:pt x="9950" y="1607"/>
                  <a:pt x="9956" y="1516"/>
                  <a:pt x="9970" y="1423"/>
                </a:cubicBezTo>
                <a:cubicBezTo>
                  <a:pt x="9883" y="1467"/>
                  <a:pt x="9794" y="1500"/>
                  <a:pt x="9716" y="1558"/>
                </a:cubicBezTo>
                <a:cubicBezTo>
                  <a:pt x="9707" y="1552"/>
                  <a:pt x="9698" y="1546"/>
                  <a:pt x="9687" y="1540"/>
                </a:cubicBezTo>
                <a:cubicBezTo>
                  <a:pt x="9678" y="1419"/>
                  <a:pt x="9615" y="1328"/>
                  <a:pt x="9563" y="1227"/>
                </a:cubicBezTo>
                <a:cubicBezTo>
                  <a:pt x="9527" y="1296"/>
                  <a:pt x="9486" y="1360"/>
                  <a:pt x="9460" y="1433"/>
                </a:cubicBezTo>
                <a:cubicBezTo>
                  <a:pt x="9442" y="1425"/>
                  <a:pt x="9423" y="1417"/>
                  <a:pt x="9405" y="1411"/>
                </a:cubicBezTo>
                <a:cubicBezTo>
                  <a:pt x="9439" y="1385"/>
                  <a:pt x="9464" y="1358"/>
                  <a:pt x="9476" y="1319"/>
                </a:cubicBezTo>
                <a:cubicBezTo>
                  <a:pt x="9502" y="1227"/>
                  <a:pt x="9472" y="1150"/>
                  <a:pt x="9455" y="1067"/>
                </a:cubicBezTo>
                <a:cubicBezTo>
                  <a:pt x="9396" y="1129"/>
                  <a:pt x="9330" y="1178"/>
                  <a:pt x="9303" y="1269"/>
                </a:cubicBezTo>
                <a:cubicBezTo>
                  <a:pt x="9292" y="1308"/>
                  <a:pt x="9298" y="1343"/>
                  <a:pt x="9313" y="1381"/>
                </a:cubicBezTo>
                <a:cubicBezTo>
                  <a:pt x="9290" y="1374"/>
                  <a:pt x="9268" y="1366"/>
                  <a:pt x="9244" y="1360"/>
                </a:cubicBezTo>
                <a:cubicBezTo>
                  <a:pt x="9254" y="1278"/>
                  <a:pt x="9259" y="1196"/>
                  <a:pt x="9268" y="1113"/>
                </a:cubicBezTo>
                <a:cubicBezTo>
                  <a:pt x="9153" y="1175"/>
                  <a:pt x="9035" y="1224"/>
                  <a:pt x="8933" y="1303"/>
                </a:cubicBezTo>
                <a:cubicBezTo>
                  <a:pt x="8929" y="1303"/>
                  <a:pt x="8926" y="1303"/>
                  <a:pt x="8923" y="1302"/>
                </a:cubicBezTo>
                <a:cubicBezTo>
                  <a:pt x="8930" y="1254"/>
                  <a:pt x="8935" y="1205"/>
                  <a:pt x="8943" y="1155"/>
                </a:cubicBezTo>
                <a:cubicBezTo>
                  <a:pt x="8904" y="1175"/>
                  <a:pt x="8864" y="1192"/>
                  <a:pt x="8826" y="1211"/>
                </a:cubicBezTo>
                <a:cubicBezTo>
                  <a:pt x="8823" y="1208"/>
                  <a:pt x="8820" y="1206"/>
                  <a:pt x="8818" y="1203"/>
                </a:cubicBezTo>
                <a:cubicBezTo>
                  <a:pt x="8866" y="1098"/>
                  <a:pt x="8870" y="988"/>
                  <a:pt x="8887" y="876"/>
                </a:cubicBezTo>
                <a:cubicBezTo>
                  <a:pt x="8826" y="906"/>
                  <a:pt x="8765" y="931"/>
                  <a:pt x="8707" y="963"/>
                </a:cubicBezTo>
                <a:cubicBezTo>
                  <a:pt x="8716" y="906"/>
                  <a:pt x="8711" y="850"/>
                  <a:pt x="8711" y="793"/>
                </a:cubicBezTo>
                <a:cubicBezTo>
                  <a:pt x="8643" y="840"/>
                  <a:pt x="8571" y="875"/>
                  <a:pt x="8525" y="955"/>
                </a:cubicBezTo>
                <a:cubicBezTo>
                  <a:pt x="8468" y="849"/>
                  <a:pt x="8387" y="759"/>
                  <a:pt x="8313" y="660"/>
                </a:cubicBezTo>
                <a:cubicBezTo>
                  <a:pt x="8292" y="724"/>
                  <a:pt x="8267" y="785"/>
                  <a:pt x="8246" y="846"/>
                </a:cubicBezTo>
                <a:cubicBezTo>
                  <a:pt x="8232" y="841"/>
                  <a:pt x="8218" y="836"/>
                  <a:pt x="8205" y="831"/>
                </a:cubicBezTo>
                <a:cubicBezTo>
                  <a:pt x="8208" y="798"/>
                  <a:pt x="8212" y="765"/>
                  <a:pt x="8217" y="731"/>
                </a:cubicBezTo>
                <a:cubicBezTo>
                  <a:pt x="8182" y="748"/>
                  <a:pt x="8147" y="764"/>
                  <a:pt x="8112" y="780"/>
                </a:cubicBezTo>
                <a:cubicBezTo>
                  <a:pt x="8131" y="702"/>
                  <a:pt x="8138" y="622"/>
                  <a:pt x="8150" y="541"/>
                </a:cubicBezTo>
                <a:cubicBezTo>
                  <a:pt x="8049" y="591"/>
                  <a:pt x="7946" y="628"/>
                  <a:pt x="7861" y="705"/>
                </a:cubicBezTo>
                <a:cubicBezTo>
                  <a:pt x="7856" y="626"/>
                  <a:pt x="7837" y="549"/>
                  <a:pt x="7824" y="469"/>
                </a:cubicBezTo>
                <a:cubicBezTo>
                  <a:pt x="7744" y="547"/>
                  <a:pt x="7658" y="613"/>
                  <a:pt x="7601" y="710"/>
                </a:cubicBezTo>
                <a:cubicBezTo>
                  <a:pt x="7591" y="710"/>
                  <a:pt x="7580" y="709"/>
                  <a:pt x="7569" y="709"/>
                </a:cubicBezTo>
                <a:cubicBezTo>
                  <a:pt x="7586" y="636"/>
                  <a:pt x="7591" y="561"/>
                  <a:pt x="7603" y="485"/>
                </a:cubicBezTo>
                <a:cubicBezTo>
                  <a:pt x="7476" y="548"/>
                  <a:pt x="7345" y="587"/>
                  <a:pt x="7253" y="715"/>
                </a:cubicBezTo>
                <a:cubicBezTo>
                  <a:pt x="7249" y="720"/>
                  <a:pt x="7247" y="726"/>
                  <a:pt x="7244" y="731"/>
                </a:cubicBezTo>
                <a:cubicBezTo>
                  <a:pt x="7243" y="731"/>
                  <a:pt x="7243" y="731"/>
                  <a:pt x="7242" y="732"/>
                </a:cubicBezTo>
                <a:cubicBezTo>
                  <a:pt x="7225" y="661"/>
                  <a:pt x="7197" y="594"/>
                  <a:pt x="7175" y="523"/>
                </a:cubicBezTo>
                <a:cubicBezTo>
                  <a:pt x="7143" y="565"/>
                  <a:pt x="7110" y="605"/>
                  <a:pt x="7078" y="646"/>
                </a:cubicBezTo>
                <a:cubicBezTo>
                  <a:pt x="7080" y="521"/>
                  <a:pt x="7033" y="414"/>
                  <a:pt x="6997" y="300"/>
                </a:cubicBezTo>
                <a:cubicBezTo>
                  <a:pt x="6959" y="349"/>
                  <a:pt x="6919" y="395"/>
                  <a:pt x="6883" y="443"/>
                </a:cubicBezTo>
                <a:cubicBezTo>
                  <a:pt x="6893" y="376"/>
                  <a:pt x="6878" y="312"/>
                  <a:pt x="6871" y="246"/>
                </a:cubicBezTo>
                <a:cubicBezTo>
                  <a:pt x="6807" y="302"/>
                  <a:pt x="6737" y="345"/>
                  <a:pt x="6702" y="434"/>
                </a:cubicBezTo>
                <a:cubicBezTo>
                  <a:pt x="6698" y="444"/>
                  <a:pt x="6697" y="453"/>
                  <a:pt x="6696" y="462"/>
                </a:cubicBezTo>
                <a:cubicBezTo>
                  <a:pt x="6683" y="367"/>
                  <a:pt x="6646" y="280"/>
                  <a:pt x="6617" y="188"/>
                </a:cubicBezTo>
                <a:cubicBezTo>
                  <a:pt x="6562" y="260"/>
                  <a:pt x="6502" y="325"/>
                  <a:pt x="6458" y="403"/>
                </a:cubicBezTo>
                <a:cubicBezTo>
                  <a:pt x="6444" y="362"/>
                  <a:pt x="6429" y="320"/>
                  <a:pt x="6416" y="277"/>
                </a:cubicBezTo>
                <a:cubicBezTo>
                  <a:pt x="6379" y="325"/>
                  <a:pt x="6340" y="371"/>
                  <a:pt x="6304" y="419"/>
                </a:cubicBezTo>
                <a:cubicBezTo>
                  <a:pt x="6319" y="343"/>
                  <a:pt x="6322" y="266"/>
                  <a:pt x="6332" y="188"/>
                </a:cubicBezTo>
                <a:cubicBezTo>
                  <a:pt x="6251" y="231"/>
                  <a:pt x="6169" y="267"/>
                  <a:pt x="6097" y="321"/>
                </a:cubicBezTo>
                <a:cubicBezTo>
                  <a:pt x="6106" y="244"/>
                  <a:pt x="6110" y="165"/>
                  <a:pt x="6119" y="85"/>
                </a:cubicBezTo>
                <a:cubicBezTo>
                  <a:pt x="5949" y="178"/>
                  <a:pt x="5771" y="238"/>
                  <a:pt x="5650" y="418"/>
                </a:cubicBezTo>
                <a:cubicBezTo>
                  <a:pt x="5649" y="420"/>
                  <a:pt x="5648" y="422"/>
                  <a:pt x="5647" y="424"/>
                </a:cubicBezTo>
                <a:cubicBezTo>
                  <a:pt x="5645" y="380"/>
                  <a:pt x="5637" y="336"/>
                  <a:pt x="5632" y="291"/>
                </a:cubicBezTo>
                <a:cubicBezTo>
                  <a:pt x="5568" y="347"/>
                  <a:pt x="5497" y="390"/>
                  <a:pt x="5463" y="479"/>
                </a:cubicBezTo>
                <a:cubicBezTo>
                  <a:pt x="5458" y="491"/>
                  <a:pt x="5455" y="504"/>
                  <a:pt x="5454" y="516"/>
                </a:cubicBezTo>
                <a:cubicBezTo>
                  <a:pt x="5343" y="358"/>
                  <a:pt x="5181" y="290"/>
                  <a:pt x="5027" y="197"/>
                </a:cubicBezTo>
                <a:cubicBezTo>
                  <a:pt x="5031" y="273"/>
                  <a:pt x="5031" y="349"/>
                  <a:pt x="5037" y="424"/>
                </a:cubicBezTo>
                <a:cubicBezTo>
                  <a:pt x="4919" y="374"/>
                  <a:pt x="4794" y="357"/>
                  <a:pt x="4669" y="325"/>
                </a:cubicBezTo>
                <a:cubicBezTo>
                  <a:pt x="4687" y="371"/>
                  <a:pt x="4703" y="418"/>
                  <a:pt x="4719" y="464"/>
                </a:cubicBezTo>
                <a:cubicBezTo>
                  <a:pt x="4714" y="461"/>
                  <a:pt x="4711" y="457"/>
                  <a:pt x="4706" y="454"/>
                </a:cubicBezTo>
                <a:cubicBezTo>
                  <a:pt x="4623" y="409"/>
                  <a:pt x="4540" y="421"/>
                  <a:pt x="4455" y="419"/>
                </a:cubicBezTo>
                <a:cubicBezTo>
                  <a:pt x="4498" y="482"/>
                  <a:pt x="4531" y="549"/>
                  <a:pt x="4598" y="596"/>
                </a:cubicBezTo>
                <a:cubicBezTo>
                  <a:pt x="4520" y="615"/>
                  <a:pt x="4445" y="640"/>
                  <a:pt x="4371" y="669"/>
                </a:cubicBezTo>
                <a:cubicBezTo>
                  <a:pt x="4347" y="584"/>
                  <a:pt x="4300" y="513"/>
                  <a:pt x="4259" y="435"/>
                </a:cubicBezTo>
                <a:cubicBezTo>
                  <a:pt x="4206" y="536"/>
                  <a:pt x="4141" y="626"/>
                  <a:pt x="4133" y="750"/>
                </a:cubicBezTo>
                <a:cubicBezTo>
                  <a:pt x="4121" y="634"/>
                  <a:pt x="4060" y="547"/>
                  <a:pt x="4010" y="449"/>
                </a:cubicBezTo>
                <a:cubicBezTo>
                  <a:pt x="3953" y="557"/>
                  <a:pt x="3881" y="652"/>
                  <a:pt x="3880" y="789"/>
                </a:cubicBezTo>
                <a:cubicBezTo>
                  <a:pt x="3880" y="792"/>
                  <a:pt x="3881" y="794"/>
                  <a:pt x="3881" y="797"/>
                </a:cubicBezTo>
                <a:cubicBezTo>
                  <a:pt x="3817" y="750"/>
                  <a:pt x="3748" y="708"/>
                  <a:pt x="3682" y="661"/>
                </a:cubicBezTo>
                <a:cubicBezTo>
                  <a:pt x="3681" y="743"/>
                  <a:pt x="3675" y="823"/>
                  <a:pt x="3676" y="904"/>
                </a:cubicBezTo>
                <a:cubicBezTo>
                  <a:pt x="3575" y="754"/>
                  <a:pt x="3426" y="679"/>
                  <a:pt x="3287" y="580"/>
                </a:cubicBezTo>
                <a:cubicBezTo>
                  <a:pt x="3286" y="733"/>
                  <a:pt x="3266" y="880"/>
                  <a:pt x="3306" y="1030"/>
                </a:cubicBezTo>
                <a:cubicBezTo>
                  <a:pt x="3235" y="977"/>
                  <a:pt x="3159" y="931"/>
                  <a:pt x="3086" y="878"/>
                </a:cubicBezTo>
                <a:cubicBezTo>
                  <a:pt x="3085" y="943"/>
                  <a:pt x="3081" y="1005"/>
                  <a:pt x="3080" y="1068"/>
                </a:cubicBezTo>
                <a:cubicBezTo>
                  <a:pt x="2983" y="1036"/>
                  <a:pt x="2881" y="1020"/>
                  <a:pt x="2780" y="995"/>
                </a:cubicBezTo>
                <a:cubicBezTo>
                  <a:pt x="2807" y="1064"/>
                  <a:pt x="2828" y="1134"/>
                  <a:pt x="2854" y="1202"/>
                </a:cubicBezTo>
                <a:cubicBezTo>
                  <a:pt x="2777" y="1182"/>
                  <a:pt x="2698" y="1167"/>
                  <a:pt x="2619" y="1147"/>
                </a:cubicBezTo>
                <a:cubicBezTo>
                  <a:pt x="2645" y="1214"/>
                  <a:pt x="2665" y="1282"/>
                  <a:pt x="2690" y="1347"/>
                </a:cubicBezTo>
                <a:cubicBezTo>
                  <a:pt x="2556" y="1274"/>
                  <a:pt x="2411" y="1256"/>
                  <a:pt x="2264" y="1220"/>
                </a:cubicBezTo>
                <a:cubicBezTo>
                  <a:pt x="2318" y="1361"/>
                  <a:pt x="2353" y="1505"/>
                  <a:pt x="2443" y="1629"/>
                </a:cubicBezTo>
                <a:cubicBezTo>
                  <a:pt x="2356" y="1604"/>
                  <a:pt x="2266" y="1589"/>
                  <a:pt x="2176" y="1566"/>
                </a:cubicBezTo>
                <a:cubicBezTo>
                  <a:pt x="2223" y="1688"/>
                  <a:pt x="2255" y="1812"/>
                  <a:pt x="2321" y="1923"/>
                </a:cubicBezTo>
                <a:lnTo>
                  <a:pt x="2321" y="1924"/>
                </a:lnTo>
                <a:cubicBezTo>
                  <a:pt x="2148" y="1848"/>
                  <a:pt x="1978" y="1869"/>
                  <a:pt x="1801" y="1865"/>
                </a:cubicBezTo>
                <a:cubicBezTo>
                  <a:pt x="1848" y="1936"/>
                  <a:pt x="1890" y="2009"/>
                  <a:pt x="1937" y="2078"/>
                </a:cubicBezTo>
                <a:cubicBezTo>
                  <a:pt x="1858" y="2039"/>
                  <a:pt x="1779" y="2048"/>
                  <a:pt x="1697" y="2046"/>
                </a:cubicBezTo>
                <a:cubicBezTo>
                  <a:pt x="1728" y="2092"/>
                  <a:pt x="1754" y="2140"/>
                  <a:pt x="1790" y="2180"/>
                </a:cubicBezTo>
                <a:cubicBezTo>
                  <a:pt x="1708" y="2167"/>
                  <a:pt x="1626" y="2171"/>
                  <a:pt x="1542" y="2169"/>
                </a:cubicBezTo>
                <a:cubicBezTo>
                  <a:pt x="1594" y="2248"/>
                  <a:pt x="1636" y="2329"/>
                  <a:pt x="1702" y="2395"/>
                </a:cubicBezTo>
                <a:cubicBezTo>
                  <a:pt x="1593" y="2355"/>
                  <a:pt x="1485" y="2365"/>
                  <a:pt x="1372" y="2362"/>
                </a:cubicBezTo>
                <a:cubicBezTo>
                  <a:pt x="1427" y="2445"/>
                  <a:pt x="1470" y="2531"/>
                  <a:pt x="1543" y="2599"/>
                </a:cubicBezTo>
                <a:cubicBezTo>
                  <a:pt x="1534" y="2610"/>
                  <a:pt x="1526" y="2621"/>
                  <a:pt x="1518" y="2633"/>
                </a:cubicBezTo>
                <a:cubicBezTo>
                  <a:pt x="1377" y="2597"/>
                  <a:pt x="1260" y="2646"/>
                  <a:pt x="1132" y="2676"/>
                </a:cubicBezTo>
                <a:cubicBezTo>
                  <a:pt x="1213" y="2748"/>
                  <a:pt x="1283" y="2827"/>
                  <a:pt x="1383" y="2874"/>
                </a:cubicBezTo>
                <a:cubicBezTo>
                  <a:pt x="1379" y="2884"/>
                  <a:pt x="1376" y="2895"/>
                  <a:pt x="1371" y="2906"/>
                </a:cubicBezTo>
                <a:cubicBezTo>
                  <a:pt x="1304" y="2924"/>
                  <a:pt x="1240" y="2952"/>
                  <a:pt x="1173" y="2976"/>
                </a:cubicBezTo>
                <a:cubicBezTo>
                  <a:pt x="1215" y="3006"/>
                  <a:pt x="1255" y="3037"/>
                  <a:pt x="1296" y="3066"/>
                </a:cubicBezTo>
                <a:cubicBezTo>
                  <a:pt x="1171" y="3062"/>
                  <a:pt x="1067" y="3114"/>
                  <a:pt x="955" y="3153"/>
                </a:cubicBezTo>
                <a:cubicBezTo>
                  <a:pt x="1018" y="3198"/>
                  <a:pt x="1077" y="3246"/>
                  <a:pt x="1143" y="3284"/>
                </a:cubicBezTo>
                <a:cubicBezTo>
                  <a:pt x="1119" y="3293"/>
                  <a:pt x="1095" y="3303"/>
                  <a:pt x="1069" y="3312"/>
                </a:cubicBezTo>
                <a:cubicBezTo>
                  <a:pt x="1097" y="3331"/>
                  <a:pt x="1123" y="3351"/>
                  <a:pt x="1149" y="3371"/>
                </a:cubicBezTo>
                <a:cubicBezTo>
                  <a:pt x="1143" y="3376"/>
                  <a:pt x="1137" y="3380"/>
                  <a:pt x="1132" y="3386"/>
                </a:cubicBezTo>
                <a:cubicBezTo>
                  <a:pt x="1104" y="3367"/>
                  <a:pt x="1074" y="3353"/>
                  <a:pt x="1038" y="3348"/>
                </a:cubicBezTo>
                <a:cubicBezTo>
                  <a:pt x="892" y="3328"/>
                  <a:pt x="781" y="3390"/>
                  <a:pt x="657" y="3434"/>
                </a:cubicBezTo>
                <a:cubicBezTo>
                  <a:pt x="734" y="3488"/>
                  <a:pt x="802" y="3549"/>
                  <a:pt x="888" y="3588"/>
                </a:cubicBezTo>
                <a:cubicBezTo>
                  <a:pt x="809" y="3550"/>
                  <a:pt x="732" y="3559"/>
                  <a:pt x="651" y="3557"/>
                </a:cubicBezTo>
                <a:cubicBezTo>
                  <a:pt x="693" y="3621"/>
                  <a:pt x="727" y="3687"/>
                  <a:pt x="793" y="3734"/>
                </a:cubicBezTo>
                <a:cubicBezTo>
                  <a:pt x="655" y="3703"/>
                  <a:pt x="540" y="3751"/>
                  <a:pt x="415" y="3781"/>
                </a:cubicBezTo>
                <a:cubicBezTo>
                  <a:pt x="500" y="3856"/>
                  <a:pt x="573" y="3938"/>
                  <a:pt x="683" y="3983"/>
                </a:cubicBezTo>
                <a:cubicBezTo>
                  <a:pt x="682" y="3986"/>
                  <a:pt x="681" y="3988"/>
                  <a:pt x="680" y="3991"/>
                </a:cubicBezTo>
                <a:cubicBezTo>
                  <a:pt x="582" y="3992"/>
                  <a:pt x="493" y="4025"/>
                  <a:pt x="397" y="4049"/>
                </a:cubicBezTo>
                <a:cubicBezTo>
                  <a:pt x="462" y="4106"/>
                  <a:pt x="520" y="4166"/>
                  <a:pt x="591" y="4213"/>
                </a:cubicBezTo>
                <a:cubicBezTo>
                  <a:pt x="591" y="4215"/>
                  <a:pt x="590" y="4217"/>
                  <a:pt x="590" y="4219"/>
                </a:cubicBezTo>
                <a:cubicBezTo>
                  <a:pt x="489" y="4193"/>
                  <a:pt x="390" y="4205"/>
                  <a:pt x="287" y="4206"/>
                </a:cubicBezTo>
                <a:cubicBezTo>
                  <a:pt x="358" y="4306"/>
                  <a:pt x="413" y="4411"/>
                  <a:pt x="525" y="4480"/>
                </a:cubicBezTo>
                <a:cubicBezTo>
                  <a:pt x="524" y="4488"/>
                  <a:pt x="522" y="4497"/>
                  <a:pt x="521" y="4505"/>
                </a:cubicBezTo>
                <a:cubicBezTo>
                  <a:pt x="455" y="4501"/>
                  <a:pt x="389" y="4507"/>
                  <a:pt x="321" y="4507"/>
                </a:cubicBezTo>
                <a:cubicBezTo>
                  <a:pt x="368" y="4574"/>
                  <a:pt x="409" y="4642"/>
                  <a:pt x="463" y="4701"/>
                </a:cubicBezTo>
                <a:cubicBezTo>
                  <a:pt x="405" y="4689"/>
                  <a:pt x="347" y="4694"/>
                  <a:pt x="288" y="4692"/>
                </a:cubicBezTo>
                <a:cubicBezTo>
                  <a:pt x="335" y="4763"/>
                  <a:pt x="368" y="4839"/>
                  <a:pt x="452" y="4885"/>
                </a:cubicBezTo>
                <a:cubicBezTo>
                  <a:pt x="466" y="4893"/>
                  <a:pt x="479" y="4898"/>
                  <a:pt x="493" y="4901"/>
                </a:cubicBezTo>
                <a:cubicBezTo>
                  <a:pt x="363" y="4945"/>
                  <a:pt x="266" y="5033"/>
                  <a:pt x="157" y="5112"/>
                </a:cubicBezTo>
                <a:cubicBezTo>
                  <a:pt x="284" y="5155"/>
                  <a:pt x="400" y="5213"/>
                  <a:pt x="536" y="5218"/>
                </a:cubicBezTo>
                <a:cubicBezTo>
                  <a:pt x="538" y="5222"/>
                  <a:pt x="539" y="5227"/>
                  <a:pt x="540" y="5231"/>
                </a:cubicBezTo>
                <a:cubicBezTo>
                  <a:pt x="422" y="5278"/>
                  <a:pt x="333" y="5361"/>
                  <a:pt x="231" y="5434"/>
                </a:cubicBezTo>
                <a:cubicBezTo>
                  <a:pt x="359" y="5478"/>
                  <a:pt x="477" y="5538"/>
                  <a:pt x="617" y="5541"/>
                </a:cubicBezTo>
                <a:close/>
                <a:moveTo>
                  <a:pt x="10725" y="2862"/>
                </a:moveTo>
                <a:cubicBezTo>
                  <a:pt x="10725" y="2864"/>
                  <a:pt x="10724" y="2867"/>
                  <a:pt x="10724" y="2870"/>
                </a:cubicBezTo>
                <a:cubicBezTo>
                  <a:pt x="10717" y="2871"/>
                  <a:pt x="10710" y="2874"/>
                  <a:pt x="10702" y="2876"/>
                </a:cubicBezTo>
                <a:cubicBezTo>
                  <a:pt x="10710" y="2871"/>
                  <a:pt x="10718" y="2867"/>
                  <a:pt x="10725" y="2862"/>
                </a:cubicBezTo>
                <a:close/>
                <a:moveTo>
                  <a:pt x="925" y="3601"/>
                </a:moveTo>
                <a:cubicBezTo>
                  <a:pt x="923" y="3603"/>
                  <a:pt x="922" y="3605"/>
                  <a:pt x="920" y="3607"/>
                </a:cubicBezTo>
                <a:cubicBezTo>
                  <a:pt x="915" y="3603"/>
                  <a:pt x="910" y="3599"/>
                  <a:pt x="904" y="3595"/>
                </a:cubicBezTo>
                <a:cubicBezTo>
                  <a:pt x="911" y="3598"/>
                  <a:pt x="918" y="3598"/>
                  <a:pt x="925" y="3601"/>
                </a:cubicBezTo>
                <a:close/>
              </a:path>
            </a:pathLst>
          </a:custGeom>
          <a:solidFill>
            <a:schemeClr val="bg1"/>
          </a:solidFill>
          <a:ln w="9525">
            <a:noFill/>
            <a:round/>
          </a:ln>
        </p:spPr>
        <p:txBody>
          <a:bodyPr vert="horz" wrap="square" lIns="137160" tIns="68580" rIns="137160" bIns="6858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27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5" name="Presentation2" descr="{&quot;Key&quot;:&quot;POWER_USER_SHAPE_ICON&quot;,&quot;Value&quot;:&quot;POWER_USER_SHAPE_ICON_STYLE_1&quot;}"/>
          <p:cNvGrpSpPr>
            <a:grpSpLocks noChangeAspect="1"/>
          </p:cNvGrpSpPr>
          <p:nvPr>
            <p:custDataLst>
              <p:tags r:id="rId5"/>
            </p:custDataLst>
          </p:nvPr>
        </p:nvGrpSpPr>
        <p:grpSpPr>
          <a:xfrm>
            <a:off x="12760566" y="2241618"/>
            <a:ext cx="970757" cy="814388"/>
            <a:chOff x="-2476784" y="651470"/>
            <a:chExt cx="1941513" cy="1628775"/>
          </a:xfrm>
          <a:solidFill>
            <a:schemeClr val="bg1"/>
          </a:solidFill>
        </p:grpSpPr>
        <p:sp>
          <p:nvSpPr>
            <p:cNvPr id="146" name="Rectangle 145"/>
            <p:cNvSpPr>
              <a:spLocks noChangeArrowheads="1"/>
            </p:cNvSpPr>
            <p:nvPr/>
          </p:nvSpPr>
          <p:spPr bwMode="auto">
            <a:xfrm>
              <a:off x="-1614771" y="651470"/>
              <a:ext cx="1079500" cy="504825"/>
            </a:xfrm>
            <a:prstGeom prst="rect">
              <a:avLst/>
            </a:prstGeom>
            <a:grpFill/>
            <a:ln w="0">
              <a:noFill/>
              <a:prstDash val="solid"/>
              <a:miter lim="800000"/>
            </a:ln>
          </p:spPr>
          <p:txBody>
            <a:bodyPr vert="horz" wrap="square" lIns="137160" tIns="68580" rIns="137160" bIns="6858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Rectangle 6"/>
            <p:cNvSpPr>
              <a:spLocks noChangeArrowheads="1"/>
            </p:cNvSpPr>
            <p:nvPr/>
          </p:nvSpPr>
          <p:spPr bwMode="auto">
            <a:xfrm>
              <a:off x="-1573496" y="651470"/>
              <a:ext cx="1038225" cy="471488"/>
            </a:xfrm>
            <a:prstGeom prst="rect">
              <a:avLst/>
            </a:prstGeom>
            <a:grpFill/>
            <a:ln w="0">
              <a:noFill/>
              <a:prstDash val="solid"/>
              <a:miter lim="800000"/>
            </a:ln>
          </p:spPr>
          <p:txBody>
            <a:bodyPr vert="horz" wrap="square" lIns="137160" tIns="68580" rIns="137160" bIns="6858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Shape 399"/>
            <p:cNvSpPr>
              <a:spLocks noChangeArrowheads="1"/>
            </p:cNvSpPr>
            <p:nvPr/>
          </p:nvSpPr>
          <p:spPr bwMode="auto">
            <a:xfrm>
              <a:off x="-1554446" y="651470"/>
              <a:ext cx="1019175" cy="442913"/>
            </a:xfrm>
            <a:custGeom>
              <a:avLst/>
              <a:gdLst>
                <a:gd name="connsiteX0" fmla="*/ 0 w 1019175"/>
                <a:gd name="connsiteY0" fmla="*/ 0 h 442913"/>
                <a:gd name="connsiteX1" fmla="*/ 1019175 w 1019175"/>
                <a:gd name="connsiteY1" fmla="*/ 0 h 442913"/>
                <a:gd name="connsiteX2" fmla="*/ 1019175 w 1019175"/>
                <a:gd name="connsiteY2" fmla="*/ 442913 h 442913"/>
                <a:gd name="connsiteX3" fmla="*/ 60030 w 1019175"/>
                <a:gd name="connsiteY3" fmla="*/ 442913 h 442913"/>
                <a:gd name="connsiteX4" fmla="*/ 428625 w 1019175"/>
                <a:gd name="connsiteY4" fmla="*/ 54219 h 442913"/>
                <a:gd name="connsiteX5" fmla="*/ 413482 w 1019175"/>
                <a:gd name="connsiteY5" fmla="*/ 39688 h 442913"/>
                <a:gd name="connsiteX6" fmla="*/ 31108 w 1019175"/>
                <a:gd name="connsiteY6" fmla="*/ 442913 h 442913"/>
                <a:gd name="connsiteX7" fmla="*/ 0 w 1019175"/>
                <a:gd name="connsiteY7" fmla="*/ 442913 h 44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9175" h="442913">
                  <a:moveTo>
                    <a:pt x="0" y="0"/>
                  </a:moveTo>
                  <a:lnTo>
                    <a:pt x="1019175" y="0"/>
                  </a:lnTo>
                  <a:lnTo>
                    <a:pt x="1019175" y="442913"/>
                  </a:lnTo>
                  <a:lnTo>
                    <a:pt x="60030" y="442913"/>
                  </a:lnTo>
                  <a:lnTo>
                    <a:pt x="428625" y="54219"/>
                  </a:lnTo>
                  <a:lnTo>
                    <a:pt x="413482" y="39688"/>
                  </a:lnTo>
                  <a:lnTo>
                    <a:pt x="31108" y="442913"/>
                  </a:lnTo>
                  <a:lnTo>
                    <a:pt x="0" y="442913"/>
                  </a:lnTo>
                  <a:close/>
                </a:path>
              </a:pathLst>
            </a:custGeom>
            <a:grpFill/>
            <a:ln w="0">
              <a:noFill/>
              <a:prstDash val="solid"/>
              <a:miter lim="800000"/>
            </a:ln>
          </p:spPr>
          <p:txBody>
            <a:bodyPr vert="horz" wrap="square" lIns="137160" tIns="68580" rIns="137160" bIns="6858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Oval 8"/>
            <p:cNvSpPr>
              <a:spLocks noChangeArrowheads="1"/>
            </p:cNvSpPr>
            <p:nvPr/>
          </p:nvSpPr>
          <p:spPr bwMode="auto">
            <a:xfrm>
              <a:off x="-2187859" y="651470"/>
              <a:ext cx="312738" cy="314325"/>
            </a:xfrm>
            <a:prstGeom prst="ellipse">
              <a:avLst/>
            </a:prstGeom>
            <a:grpFill/>
            <a:ln w="0">
              <a:noFill/>
              <a:prstDash val="solid"/>
              <a:round/>
            </a:ln>
          </p:spPr>
          <p:txBody>
            <a:bodyPr vert="horz" wrap="square" lIns="137160" tIns="68580" rIns="137160" bIns="6858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9"/>
            <p:cNvSpPr/>
            <p:nvPr/>
          </p:nvSpPr>
          <p:spPr bwMode="auto">
            <a:xfrm>
              <a:off x="-2443446" y="1000720"/>
              <a:ext cx="996950" cy="520700"/>
            </a:xfrm>
            <a:custGeom>
              <a:avLst/>
              <a:gdLst>
                <a:gd name="T0" fmla="*/ 0 w 2958"/>
                <a:gd name="T1" fmla="*/ 1543 h 1543"/>
                <a:gd name="T2" fmla="*/ 408 w 2958"/>
                <a:gd name="T3" fmla="*/ 1543 h 1543"/>
                <a:gd name="T4" fmla="*/ 656 w 2958"/>
                <a:gd name="T5" fmla="*/ 645 h 1543"/>
                <a:gd name="T6" fmla="*/ 756 w 2958"/>
                <a:gd name="T7" fmla="*/ 645 h 1543"/>
                <a:gd name="T8" fmla="*/ 514 w 2958"/>
                <a:gd name="T9" fmla="*/ 1543 h 1543"/>
                <a:gd name="T10" fmla="*/ 1960 w 2958"/>
                <a:gd name="T11" fmla="*/ 1543 h 1543"/>
                <a:gd name="T12" fmla="*/ 1701 w 2958"/>
                <a:gd name="T13" fmla="*/ 645 h 1543"/>
                <a:gd name="T14" fmla="*/ 1806 w 2958"/>
                <a:gd name="T15" fmla="*/ 645 h 1543"/>
                <a:gd name="T16" fmla="*/ 1944 w 2958"/>
                <a:gd name="T17" fmla="*/ 1085 h 1543"/>
                <a:gd name="T18" fmla="*/ 2301 w 2958"/>
                <a:gd name="T19" fmla="*/ 1156 h 1543"/>
                <a:gd name="T20" fmla="*/ 2802 w 2958"/>
                <a:gd name="T21" fmla="*/ 551 h 1543"/>
                <a:gd name="T22" fmla="*/ 2511 w 2958"/>
                <a:gd name="T23" fmla="*/ 312 h 1543"/>
                <a:gd name="T24" fmla="*/ 2216 w 2958"/>
                <a:gd name="T25" fmla="*/ 665 h 1543"/>
                <a:gd name="T26" fmla="*/ 2160 w 2958"/>
                <a:gd name="T27" fmla="*/ 471 h 1543"/>
                <a:gd name="T28" fmla="*/ 1528 w 2958"/>
                <a:gd name="T29" fmla="*/ 0 h 1543"/>
                <a:gd name="T30" fmla="*/ 891 w 2958"/>
                <a:gd name="T31" fmla="*/ 0 h 1543"/>
                <a:gd name="T32" fmla="*/ 306 w 2958"/>
                <a:gd name="T33" fmla="*/ 428 h 1543"/>
                <a:gd name="T34" fmla="*/ 0 w 2958"/>
                <a:gd name="T35" fmla="*/ 1543 h 1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8" h="1543">
                  <a:moveTo>
                    <a:pt x="0" y="1543"/>
                  </a:moveTo>
                  <a:lnTo>
                    <a:pt x="408" y="1543"/>
                  </a:lnTo>
                  <a:lnTo>
                    <a:pt x="656" y="645"/>
                  </a:lnTo>
                  <a:lnTo>
                    <a:pt x="756" y="645"/>
                  </a:lnTo>
                  <a:lnTo>
                    <a:pt x="514" y="1543"/>
                  </a:lnTo>
                  <a:lnTo>
                    <a:pt x="1960" y="1543"/>
                  </a:lnTo>
                  <a:lnTo>
                    <a:pt x="1701" y="645"/>
                  </a:lnTo>
                  <a:lnTo>
                    <a:pt x="1806" y="645"/>
                  </a:lnTo>
                  <a:lnTo>
                    <a:pt x="1944" y="1085"/>
                  </a:lnTo>
                  <a:cubicBezTo>
                    <a:pt x="2010" y="1271"/>
                    <a:pt x="2174" y="1314"/>
                    <a:pt x="2301" y="1156"/>
                  </a:cubicBezTo>
                  <a:lnTo>
                    <a:pt x="2802" y="551"/>
                  </a:lnTo>
                  <a:cubicBezTo>
                    <a:pt x="2958" y="348"/>
                    <a:pt x="2675" y="134"/>
                    <a:pt x="2511" y="312"/>
                  </a:cubicBezTo>
                  <a:lnTo>
                    <a:pt x="2216" y="665"/>
                  </a:lnTo>
                  <a:cubicBezTo>
                    <a:pt x="2216" y="671"/>
                    <a:pt x="2160" y="471"/>
                    <a:pt x="2160" y="471"/>
                  </a:cubicBezTo>
                  <a:cubicBezTo>
                    <a:pt x="2091" y="234"/>
                    <a:pt x="1866" y="0"/>
                    <a:pt x="1528" y="0"/>
                  </a:cubicBezTo>
                  <a:lnTo>
                    <a:pt x="891" y="0"/>
                  </a:lnTo>
                  <a:cubicBezTo>
                    <a:pt x="591" y="0"/>
                    <a:pt x="355" y="263"/>
                    <a:pt x="306" y="428"/>
                  </a:cubicBezTo>
                  <a:lnTo>
                    <a:pt x="0" y="1543"/>
                  </a:lnTo>
                  <a:close/>
                </a:path>
              </a:pathLst>
            </a:custGeom>
            <a:grpFill/>
            <a:ln w="0">
              <a:noFill/>
              <a:prstDash val="solid"/>
              <a:round/>
            </a:ln>
          </p:spPr>
          <p:txBody>
            <a:bodyPr vert="horz" wrap="square" lIns="137160" tIns="68580" rIns="137160" bIns="6858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Rectangle 10"/>
            <p:cNvSpPr>
              <a:spLocks noChangeArrowheads="1"/>
            </p:cNvSpPr>
            <p:nvPr/>
          </p:nvSpPr>
          <p:spPr bwMode="auto">
            <a:xfrm>
              <a:off x="-2476784" y="1557933"/>
              <a:ext cx="844550" cy="71438"/>
            </a:xfrm>
            <a:prstGeom prst="rect">
              <a:avLst/>
            </a:prstGeom>
            <a:grpFill/>
            <a:ln w="0">
              <a:noFill/>
              <a:prstDash val="solid"/>
              <a:miter lim="800000"/>
            </a:ln>
          </p:spPr>
          <p:txBody>
            <a:bodyPr vert="horz" wrap="square" lIns="137160" tIns="68580" rIns="137160" bIns="6858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Rectangle 11"/>
            <p:cNvSpPr>
              <a:spLocks noChangeArrowheads="1"/>
            </p:cNvSpPr>
            <p:nvPr/>
          </p:nvSpPr>
          <p:spPr bwMode="auto">
            <a:xfrm>
              <a:off x="-2476784" y="1642070"/>
              <a:ext cx="752475" cy="638175"/>
            </a:xfrm>
            <a:prstGeom prst="rect">
              <a:avLst/>
            </a:prstGeom>
            <a:grpFill/>
            <a:ln w="0">
              <a:noFill/>
              <a:prstDash val="solid"/>
              <a:miter lim="800000"/>
            </a:ln>
          </p:spPr>
          <p:txBody>
            <a:bodyPr vert="horz" wrap="square" lIns="137160" tIns="68580" rIns="137160" bIns="6858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Rectangle 13"/>
            <p:cNvSpPr>
              <a:spLocks noChangeArrowheads="1"/>
            </p:cNvSpPr>
            <p:nvPr/>
          </p:nvSpPr>
          <p:spPr bwMode="auto">
            <a:xfrm>
              <a:off x="-2476784" y="1683345"/>
              <a:ext cx="709613" cy="552450"/>
            </a:xfrm>
            <a:prstGeom prst="rect">
              <a:avLst/>
            </a:prstGeom>
            <a:grpFill/>
            <a:ln w="0">
              <a:noFill/>
              <a:prstDash val="solid"/>
              <a:miter lim="800000"/>
            </a:ln>
          </p:spPr>
          <p:txBody>
            <a:bodyPr vert="horz" wrap="square" lIns="137160" tIns="68580" rIns="137160" bIns="6858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Rectangle 14"/>
            <p:cNvSpPr>
              <a:spLocks noChangeArrowheads="1"/>
            </p:cNvSpPr>
            <p:nvPr/>
          </p:nvSpPr>
          <p:spPr bwMode="auto">
            <a:xfrm>
              <a:off x="-2476784" y="1689695"/>
              <a:ext cx="698500" cy="538163"/>
            </a:xfrm>
            <a:prstGeom prst="rect">
              <a:avLst/>
            </a:prstGeom>
            <a:grpFill/>
            <a:ln w="0">
              <a:noFill/>
              <a:prstDash val="solid"/>
              <a:miter lim="800000"/>
            </a:ln>
          </p:spPr>
          <p:txBody>
            <a:bodyPr vert="horz" wrap="square" lIns="137160" tIns="68580" rIns="137160" bIns="6858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55" name="Question" descr="{&quot;Key&quot;:&quot;POWER_USER_SHAPE_ICON&quot;,&quot;Value&quot;:&quot;POWER_USER_SHAPE_ICON_STYLE_1&quot;}"/>
          <p:cNvGrpSpPr>
            <a:grpSpLocks noChangeAspect="1"/>
          </p:cNvGrpSpPr>
          <p:nvPr>
            <p:custDataLst>
              <p:tags r:id="rId6"/>
            </p:custDataLst>
          </p:nvPr>
        </p:nvGrpSpPr>
        <p:grpSpPr bwMode="auto">
          <a:xfrm>
            <a:off x="15586454" y="2215425"/>
            <a:ext cx="527391" cy="814388"/>
            <a:chOff x="125" y="77"/>
            <a:chExt cx="215" cy="332"/>
          </a:xfrm>
          <a:solidFill>
            <a:schemeClr val="bg1"/>
          </a:solidFill>
        </p:grpSpPr>
        <p:sp>
          <p:nvSpPr>
            <p:cNvPr id="156" name="Question"/>
            <p:cNvSpPr/>
            <p:nvPr>
              <p:custDataLst>
                <p:tags r:id="rId7"/>
              </p:custDataLst>
            </p:nvPr>
          </p:nvSpPr>
          <p:spPr bwMode="auto">
            <a:xfrm>
              <a:off x="125" y="77"/>
              <a:ext cx="215" cy="263"/>
            </a:xfrm>
            <a:custGeom>
              <a:avLst/>
              <a:gdLst>
                <a:gd name="T0" fmla="*/ 175 w 275"/>
                <a:gd name="T1" fmla="*/ 337 h 337"/>
                <a:gd name="T2" fmla="*/ 125 w 275"/>
                <a:gd name="T3" fmla="*/ 337 h 337"/>
                <a:gd name="T4" fmla="*/ 125 w 275"/>
                <a:gd name="T5" fmla="*/ 230 h 337"/>
                <a:gd name="T6" fmla="*/ 144 w 275"/>
                <a:gd name="T7" fmla="*/ 225 h 337"/>
                <a:gd name="T8" fmla="*/ 225 w 275"/>
                <a:gd name="T9" fmla="*/ 137 h 337"/>
                <a:gd name="T10" fmla="*/ 138 w 275"/>
                <a:gd name="T11" fmla="*/ 50 h 337"/>
                <a:gd name="T12" fmla="*/ 50 w 275"/>
                <a:gd name="T13" fmla="*/ 137 h 337"/>
                <a:gd name="T14" fmla="*/ 0 w 275"/>
                <a:gd name="T15" fmla="*/ 137 h 337"/>
                <a:gd name="T16" fmla="*/ 138 w 275"/>
                <a:gd name="T17" fmla="*/ 0 h 337"/>
                <a:gd name="T18" fmla="*/ 275 w 275"/>
                <a:gd name="T19" fmla="*/ 137 h 337"/>
                <a:gd name="T20" fmla="*/ 175 w 275"/>
                <a:gd name="T21" fmla="*/ 268 h 337"/>
                <a:gd name="T22" fmla="*/ 175 w 275"/>
                <a:gd name="T23" fmla="*/ 337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5" h="337">
                  <a:moveTo>
                    <a:pt x="175" y="337"/>
                  </a:moveTo>
                  <a:lnTo>
                    <a:pt x="125" y="337"/>
                  </a:lnTo>
                  <a:lnTo>
                    <a:pt x="125" y="230"/>
                  </a:lnTo>
                  <a:lnTo>
                    <a:pt x="144" y="225"/>
                  </a:lnTo>
                  <a:cubicBezTo>
                    <a:pt x="148" y="225"/>
                    <a:pt x="225" y="205"/>
                    <a:pt x="225" y="137"/>
                  </a:cubicBezTo>
                  <a:cubicBezTo>
                    <a:pt x="225" y="72"/>
                    <a:pt x="178" y="50"/>
                    <a:pt x="138" y="50"/>
                  </a:cubicBezTo>
                  <a:cubicBezTo>
                    <a:pt x="95" y="50"/>
                    <a:pt x="50" y="72"/>
                    <a:pt x="50" y="137"/>
                  </a:cubicBezTo>
                  <a:lnTo>
                    <a:pt x="0" y="137"/>
                  </a:lnTo>
                  <a:cubicBezTo>
                    <a:pt x="0" y="55"/>
                    <a:pt x="55" y="0"/>
                    <a:pt x="138" y="0"/>
                  </a:cubicBezTo>
                  <a:cubicBezTo>
                    <a:pt x="219" y="0"/>
                    <a:pt x="275" y="56"/>
                    <a:pt x="275" y="137"/>
                  </a:cubicBezTo>
                  <a:cubicBezTo>
                    <a:pt x="275" y="211"/>
                    <a:pt x="218" y="252"/>
                    <a:pt x="175" y="268"/>
                  </a:cubicBezTo>
                  <a:lnTo>
                    <a:pt x="175" y="337"/>
                  </a:lnTo>
                  <a:close/>
                </a:path>
              </a:pathLst>
            </a:custGeom>
            <a:grpFill/>
            <a:ln w="0">
              <a:noFill/>
              <a:prstDash val="solid"/>
              <a:round/>
            </a:ln>
          </p:spPr>
          <p:txBody>
            <a:bodyPr vert="horz" wrap="square" lIns="137160" tIns="68580" rIns="137160" bIns="6858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Question"/>
            <p:cNvSpPr>
              <a:spLocks noChangeArrowheads="1"/>
            </p:cNvSpPr>
            <p:nvPr>
              <p:custDataLst>
                <p:tags r:id="rId8"/>
              </p:custDataLst>
            </p:nvPr>
          </p:nvSpPr>
          <p:spPr bwMode="auto">
            <a:xfrm>
              <a:off x="223" y="370"/>
              <a:ext cx="39" cy="39"/>
            </a:xfrm>
            <a:prstGeom prst="rect">
              <a:avLst/>
            </a:prstGeom>
            <a:grpFill/>
            <a:ln w="0">
              <a:noFill/>
              <a:prstDash val="solid"/>
              <a:miter lim="800000"/>
            </a:ln>
          </p:spPr>
          <p:txBody>
            <a:bodyPr vert="horz" wrap="square" lIns="137160" tIns="68580" rIns="137160" bIns="6858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9" name="TextBox 8"/>
          <p:cNvSpPr txBox="1"/>
          <p:nvPr/>
        </p:nvSpPr>
        <p:spPr>
          <a:xfrm>
            <a:off x="1622502" y="4224801"/>
            <a:ext cx="1531511" cy="3046095"/>
          </a:xfrm>
          <a:prstGeom prst="rect">
            <a:avLst/>
          </a:prstGeom>
          <a:noFill/>
        </p:spPr>
        <p:txBody>
          <a:bodyPr wrap="square" rtlCol="0">
            <a:spAutoFit/>
          </a:bodyPr>
          <a:lstStyle/>
          <a:p>
            <a:pPr algn="ctr"/>
            <a:r>
              <a:rPr lang="en-US" sz="4800" dirty="0" err="1">
                <a:latin typeface="Times New Roman" panose="02020603050405020304" pitchFamily="18" charset="0"/>
                <a:cs typeface="Times New Roman" panose="02020603050405020304" pitchFamily="18" charset="0"/>
              </a:rPr>
              <a:t>Thời</a:t>
            </a:r>
            <a:r>
              <a:rPr lang="en-US" sz="4800" dirty="0">
                <a:latin typeface="Times New Roman" panose="02020603050405020304" pitchFamily="18" charset="0"/>
                <a:cs typeface="Times New Roman" panose="02020603050405020304" pitchFamily="18" charset="0"/>
              </a:rPr>
              <a:t> </a:t>
            </a:r>
            <a:r>
              <a:rPr lang="en-US" sz="4800" dirty="0" err="1">
                <a:latin typeface="Times New Roman" panose="02020603050405020304" pitchFamily="18" charset="0"/>
                <a:cs typeface="Times New Roman" panose="02020603050405020304" pitchFamily="18" charset="0"/>
              </a:rPr>
              <a:t>gian</a:t>
            </a:r>
            <a:r>
              <a:rPr lang="en-US" sz="4800" dirty="0">
                <a:latin typeface="Times New Roman" panose="02020603050405020304" pitchFamily="18" charset="0"/>
                <a:cs typeface="Times New Roman" panose="02020603050405020304" pitchFamily="18" charset="0"/>
              </a:rPr>
              <a:t> ra </a:t>
            </a:r>
            <a:r>
              <a:rPr lang="en-US" sz="4800" dirty="0" err="1">
                <a:latin typeface="Times New Roman" panose="02020603050405020304" pitchFamily="18" charset="0"/>
                <a:cs typeface="Times New Roman" panose="02020603050405020304" pitchFamily="18" charset="0"/>
              </a:rPr>
              <a:t>đời</a:t>
            </a:r>
            <a:r>
              <a:rPr lang="en-US" sz="4800" dirty="0">
                <a:latin typeface="Times New Roman" panose="02020603050405020304" pitchFamily="18" charset="0"/>
                <a:cs typeface="Times New Roman" panose="02020603050405020304" pitchFamily="18" charset="0"/>
              </a:rPr>
              <a:t>?</a:t>
            </a:r>
            <a:endParaRPr lang="en-US" sz="4800" dirty="0">
              <a:latin typeface="Times New Roman" panose="02020603050405020304" pitchFamily="18" charset="0"/>
              <a:cs typeface="Times New Roman" panose="02020603050405020304" pitchFamily="18" charset="0"/>
            </a:endParaRPr>
          </a:p>
        </p:txBody>
      </p:sp>
      <p:sp>
        <p:nvSpPr>
          <p:cNvPr id="158" name="TextBox 157"/>
          <p:cNvSpPr txBox="1"/>
          <p:nvPr/>
        </p:nvSpPr>
        <p:spPr>
          <a:xfrm>
            <a:off x="4264814" y="4224801"/>
            <a:ext cx="1769921" cy="3784600"/>
          </a:xfrm>
          <a:prstGeom prst="rect">
            <a:avLst/>
          </a:prstGeom>
          <a:noFill/>
        </p:spPr>
        <p:txBody>
          <a:bodyPr wrap="square" rtlCol="0">
            <a:spAutoFit/>
          </a:bodyPr>
          <a:lstStyle/>
          <a:p>
            <a:pPr algn="ctr"/>
            <a:r>
              <a:rPr lang="en-US" sz="4800" dirty="0">
                <a:latin typeface="Times New Roman" panose="02020603050405020304" pitchFamily="18" charset="0"/>
                <a:cs typeface="Times New Roman" panose="02020603050405020304" pitchFamily="18" charset="0"/>
              </a:rPr>
              <a:t>Phạm vi </a:t>
            </a:r>
            <a:r>
              <a:rPr lang="en-US" sz="4800" dirty="0" err="1">
                <a:latin typeface="Times New Roman" panose="02020603050405020304" pitchFamily="18" charset="0"/>
                <a:cs typeface="Times New Roman" panose="02020603050405020304" pitchFamily="18" charset="0"/>
              </a:rPr>
              <a:t>lãnh</a:t>
            </a:r>
            <a:r>
              <a:rPr lang="en-US" sz="4800" dirty="0">
                <a:latin typeface="Times New Roman" panose="02020603050405020304" pitchFamily="18" charset="0"/>
                <a:cs typeface="Times New Roman" panose="02020603050405020304" pitchFamily="18" charset="0"/>
              </a:rPr>
              <a:t> </a:t>
            </a:r>
            <a:r>
              <a:rPr lang="en-US" sz="4800" dirty="0" err="1">
                <a:latin typeface="Times New Roman" panose="02020603050405020304" pitchFamily="18" charset="0"/>
                <a:cs typeface="Times New Roman" panose="02020603050405020304" pitchFamily="18" charset="0"/>
              </a:rPr>
              <a:t>thổ</a:t>
            </a:r>
            <a:r>
              <a:rPr lang="en-US" sz="4800" dirty="0">
                <a:latin typeface="Times New Roman" panose="02020603050405020304" pitchFamily="18" charset="0"/>
                <a:cs typeface="Times New Roman" panose="02020603050405020304" pitchFamily="18" charset="0"/>
              </a:rPr>
              <a:t> ở </a:t>
            </a:r>
            <a:r>
              <a:rPr lang="en-US" sz="4800" dirty="0" err="1">
                <a:latin typeface="Times New Roman" panose="02020603050405020304" pitchFamily="18" charset="0"/>
                <a:cs typeface="Times New Roman" panose="02020603050405020304" pitchFamily="18" charset="0"/>
              </a:rPr>
              <a:t>đâu</a:t>
            </a:r>
            <a:r>
              <a:rPr lang="en-US" sz="4800" dirty="0">
                <a:latin typeface="Times New Roman" panose="02020603050405020304" pitchFamily="18" charset="0"/>
                <a:cs typeface="Times New Roman" panose="02020603050405020304" pitchFamily="18" charset="0"/>
              </a:rPr>
              <a:t>?</a:t>
            </a:r>
            <a:endParaRPr lang="en-US" sz="4800" dirty="0">
              <a:latin typeface="Times New Roman" panose="02020603050405020304" pitchFamily="18" charset="0"/>
              <a:cs typeface="Times New Roman" panose="02020603050405020304" pitchFamily="18" charset="0"/>
            </a:endParaRPr>
          </a:p>
        </p:txBody>
      </p:sp>
      <p:sp>
        <p:nvSpPr>
          <p:cNvPr id="159" name="TextBox 158"/>
          <p:cNvSpPr txBox="1"/>
          <p:nvPr/>
        </p:nvSpPr>
        <p:spPr>
          <a:xfrm>
            <a:off x="6706623" y="4224801"/>
            <a:ext cx="2052036" cy="2306955"/>
          </a:xfrm>
          <a:prstGeom prst="rect">
            <a:avLst/>
          </a:prstGeom>
          <a:noFill/>
        </p:spPr>
        <p:txBody>
          <a:bodyPr wrap="square" rtlCol="0">
            <a:spAutoFit/>
          </a:bodyPr>
          <a:lstStyle/>
          <a:p>
            <a:pPr algn="ctr"/>
            <a:r>
              <a:rPr lang="en-US" sz="4800" dirty="0" err="1">
                <a:latin typeface="Times New Roman" panose="02020603050405020304" pitchFamily="18" charset="0"/>
                <a:cs typeface="Times New Roman" panose="02020603050405020304" pitchFamily="18" charset="0"/>
              </a:rPr>
              <a:t>Người</a:t>
            </a:r>
            <a:r>
              <a:rPr lang="en-US" sz="4800" dirty="0">
                <a:latin typeface="Times New Roman" panose="02020603050405020304" pitchFamily="18" charset="0"/>
                <a:cs typeface="Times New Roman" panose="02020603050405020304" pitchFamily="18" charset="0"/>
              </a:rPr>
              <a:t> </a:t>
            </a:r>
            <a:r>
              <a:rPr lang="en-US" sz="4800" dirty="0" err="1">
                <a:latin typeface="Times New Roman" panose="02020603050405020304" pitchFamily="18" charset="0"/>
                <a:cs typeface="Times New Roman" panose="02020603050405020304" pitchFamily="18" charset="0"/>
              </a:rPr>
              <a:t>đứng</a:t>
            </a:r>
            <a:r>
              <a:rPr lang="en-US" sz="4800" dirty="0">
                <a:latin typeface="Times New Roman" panose="02020603050405020304" pitchFamily="18" charset="0"/>
                <a:cs typeface="Times New Roman" panose="02020603050405020304" pitchFamily="18" charset="0"/>
              </a:rPr>
              <a:t> </a:t>
            </a:r>
            <a:r>
              <a:rPr lang="en-US" sz="4800" dirty="0" err="1">
                <a:latin typeface="Times New Roman" panose="02020603050405020304" pitchFamily="18" charset="0"/>
                <a:cs typeface="Times New Roman" panose="02020603050405020304" pitchFamily="18" charset="0"/>
              </a:rPr>
              <a:t>đầu</a:t>
            </a:r>
            <a:r>
              <a:rPr lang="en-US" sz="4800" dirty="0">
                <a:latin typeface="Times New Roman" panose="02020603050405020304" pitchFamily="18" charset="0"/>
                <a:cs typeface="Times New Roman" panose="02020603050405020304" pitchFamily="18" charset="0"/>
              </a:rPr>
              <a:t>?</a:t>
            </a:r>
            <a:endParaRPr lang="en-US" sz="4800" dirty="0">
              <a:latin typeface="Times New Roman" panose="02020603050405020304" pitchFamily="18" charset="0"/>
              <a:cs typeface="Times New Roman" panose="02020603050405020304" pitchFamily="18" charset="0"/>
            </a:endParaRPr>
          </a:p>
        </p:txBody>
      </p:sp>
      <p:sp>
        <p:nvSpPr>
          <p:cNvPr id="160" name="TextBox 159"/>
          <p:cNvSpPr txBox="1"/>
          <p:nvPr/>
        </p:nvSpPr>
        <p:spPr>
          <a:xfrm>
            <a:off x="9403116" y="4224801"/>
            <a:ext cx="2403524" cy="3046095"/>
          </a:xfrm>
          <a:prstGeom prst="rect">
            <a:avLst/>
          </a:prstGeom>
          <a:noFill/>
        </p:spPr>
        <p:txBody>
          <a:bodyPr wrap="square" rtlCol="0">
            <a:spAutoFit/>
          </a:bodyPr>
          <a:lstStyle/>
          <a:p>
            <a:pPr algn="ctr"/>
            <a:r>
              <a:rPr lang="en-US" sz="4800" dirty="0" err="1">
                <a:latin typeface="Times New Roman" panose="02020603050405020304" pitchFamily="18" charset="0"/>
                <a:cs typeface="Times New Roman" panose="02020603050405020304" pitchFamily="18" charset="0"/>
              </a:rPr>
              <a:t>Nguyên</a:t>
            </a:r>
            <a:r>
              <a:rPr lang="en-US" sz="4800" dirty="0">
                <a:latin typeface="Times New Roman" panose="02020603050405020304" pitchFamily="18" charset="0"/>
                <a:cs typeface="Times New Roman" panose="02020603050405020304" pitchFamily="18" charset="0"/>
              </a:rPr>
              <a:t> </a:t>
            </a:r>
            <a:r>
              <a:rPr lang="en-US" sz="4800" dirty="0" err="1">
                <a:latin typeface="Times New Roman" panose="02020603050405020304" pitchFamily="18" charset="0"/>
                <a:cs typeface="Times New Roman" panose="02020603050405020304" pitchFamily="18" charset="0"/>
              </a:rPr>
              <a:t>nhân</a:t>
            </a:r>
            <a:r>
              <a:rPr lang="en-US" sz="4800" dirty="0">
                <a:latin typeface="Times New Roman" panose="02020603050405020304" pitchFamily="18" charset="0"/>
                <a:cs typeface="Times New Roman" panose="02020603050405020304" pitchFamily="18" charset="0"/>
              </a:rPr>
              <a:t> </a:t>
            </a:r>
            <a:r>
              <a:rPr lang="en-US" sz="4800" dirty="0" err="1">
                <a:latin typeface="Times New Roman" panose="02020603050405020304" pitchFamily="18" charset="0"/>
                <a:cs typeface="Times New Roman" panose="02020603050405020304" pitchFamily="18" charset="0"/>
              </a:rPr>
              <a:t>hình</a:t>
            </a:r>
            <a:r>
              <a:rPr lang="en-US" sz="4800" dirty="0">
                <a:latin typeface="Times New Roman" panose="02020603050405020304" pitchFamily="18" charset="0"/>
                <a:cs typeface="Times New Roman" panose="02020603050405020304" pitchFamily="18" charset="0"/>
              </a:rPr>
              <a:t> </a:t>
            </a:r>
            <a:r>
              <a:rPr lang="en-US" sz="4800" dirty="0" err="1">
                <a:latin typeface="Times New Roman" panose="02020603050405020304" pitchFamily="18" charset="0"/>
                <a:cs typeface="Times New Roman" panose="02020603050405020304" pitchFamily="18" charset="0"/>
              </a:rPr>
              <a:t>thành</a:t>
            </a:r>
            <a:r>
              <a:rPr lang="en-US" sz="4800" dirty="0">
                <a:latin typeface="Times New Roman" panose="02020603050405020304" pitchFamily="18" charset="0"/>
                <a:cs typeface="Times New Roman" panose="02020603050405020304" pitchFamily="18" charset="0"/>
              </a:rPr>
              <a:t>?</a:t>
            </a:r>
            <a:endParaRPr lang="en-US" sz="4800" dirty="0">
              <a:latin typeface="Times New Roman" panose="02020603050405020304" pitchFamily="18" charset="0"/>
              <a:cs typeface="Times New Roman" panose="02020603050405020304" pitchFamily="18" charset="0"/>
            </a:endParaRPr>
          </a:p>
        </p:txBody>
      </p:sp>
      <p:sp>
        <p:nvSpPr>
          <p:cNvPr id="161" name="TextBox 160"/>
          <p:cNvSpPr txBox="1"/>
          <p:nvPr/>
        </p:nvSpPr>
        <p:spPr>
          <a:xfrm>
            <a:off x="12039617" y="4224801"/>
            <a:ext cx="2403524" cy="4523105"/>
          </a:xfrm>
          <a:prstGeom prst="rect">
            <a:avLst/>
          </a:prstGeom>
          <a:noFill/>
        </p:spPr>
        <p:txBody>
          <a:bodyPr wrap="square" rtlCol="0">
            <a:spAutoFit/>
          </a:bodyPr>
          <a:lstStyle/>
          <a:p>
            <a:pPr algn="ctr"/>
            <a:r>
              <a:rPr lang="en-US" sz="4800" dirty="0" err="1">
                <a:latin typeface="Times New Roman" panose="02020603050405020304" pitchFamily="18" charset="0"/>
                <a:cs typeface="Times New Roman" panose="02020603050405020304" pitchFamily="18" charset="0"/>
              </a:rPr>
              <a:t>Tổ</a:t>
            </a:r>
            <a:r>
              <a:rPr lang="en-US" sz="4800" dirty="0">
                <a:latin typeface="Times New Roman" panose="02020603050405020304" pitchFamily="18" charset="0"/>
                <a:cs typeface="Times New Roman" panose="02020603050405020304" pitchFamily="18" charset="0"/>
              </a:rPr>
              <a:t> </a:t>
            </a:r>
            <a:r>
              <a:rPr lang="en-US" sz="4800" dirty="0" err="1">
                <a:latin typeface="Times New Roman" panose="02020603050405020304" pitchFamily="18" charset="0"/>
                <a:cs typeface="Times New Roman" panose="02020603050405020304" pitchFamily="18" charset="0"/>
              </a:rPr>
              <a:t>chức</a:t>
            </a:r>
            <a:r>
              <a:rPr lang="en-US" sz="4800" dirty="0">
                <a:latin typeface="Times New Roman" panose="02020603050405020304" pitchFamily="18" charset="0"/>
                <a:cs typeface="Times New Roman" panose="02020603050405020304" pitchFamily="18" charset="0"/>
              </a:rPr>
              <a:t> </a:t>
            </a:r>
            <a:r>
              <a:rPr lang="en-US" sz="4800" dirty="0" err="1">
                <a:latin typeface="Times New Roman" panose="02020603050405020304" pitchFamily="18" charset="0"/>
                <a:cs typeface="Times New Roman" panose="02020603050405020304" pitchFamily="18" charset="0"/>
              </a:rPr>
              <a:t>bộ</a:t>
            </a:r>
            <a:r>
              <a:rPr lang="en-US" sz="4800" dirty="0">
                <a:latin typeface="Times New Roman" panose="02020603050405020304" pitchFamily="18" charset="0"/>
                <a:cs typeface="Times New Roman" panose="02020603050405020304" pitchFamily="18" charset="0"/>
              </a:rPr>
              <a:t> </a:t>
            </a:r>
            <a:r>
              <a:rPr lang="en-US" sz="4800" dirty="0" err="1">
                <a:latin typeface="Times New Roman" panose="02020603050405020304" pitchFamily="18" charset="0"/>
                <a:cs typeface="Times New Roman" panose="02020603050405020304" pitchFamily="18" charset="0"/>
              </a:rPr>
              <a:t>máy</a:t>
            </a:r>
            <a:r>
              <a:rPr lang="en-US" sz="4800" dirty="0">
                <a:latin typeface="Times New Roman" panose="02020603050405020304" pitchFamily="18" charset="0"/>
                <a:cs typeface="Times New Roman" panose="02020603050405020304" pitchFamily="18" charset="0"/>
              </a:rPr>
              <a:t> </a:t>
            </a:r>
            <a:r>
              <a:rPr lang="en-US" sz="4800" dirty="0" err="1">
                <a:latin typeface="Times New Roman" panose="02020603050405020304" pitchFamily="18" charset="0"/>
                <a:cs typeface="Times New Roman" panose="02020603050405020304" pitchFamily="18" charset="0"/>
              </a:rPr>
              <a:t>nhà</a:t>
            </a:r>
            <a:r>
              <a:rPr lang="en-US" sz="4800" dirty="0">
                <a:latin typeface="Times New Roman" panose="02020603050405020304" pitchFamily="18" charset="0"/>
                <a:cs typeface="Times New Roman" panose="02020603050405020304" pitchFamily="18" charset="0"/>
              </a:rPr>
              <a:t> </a:t>
            </a:r>
            <a:r>
              <a:rPr lang="en-US" sz="4800" dirty="0" err="1">
                <a:latin typeface="Times New Roman" panose="02020603050405020304" pitchFamily="18" charset="0"/>
                <a:cs typeface="Times New Roman" panose="02020603050405020304" pitchFamily="18" charset="0"/>
              </a:rPr>
              <a:t>nước</a:t>
            </a:r>
            <a:r>
              <a:rPr lang="en-US" sz="4800" dirty="0">
                <a:latin typeface="Times New Roman" panose="02020603050405020304" pitchFamily="18" charset="0"/>
                <a:cs typeface="Times New Roman" panose="02020603050405020304" pitchFamily="18" charset="0"/>
              </a:rPr>
              <a:t> </a:t>
            </a:r>
            <a:r>
              <a:rPr lang="en-US" sz="4800" dirty="0" err="1">
                <a:latin typeface="Times New Roman" panose="02020603050405020304" pitchFamily="18" charset="0"/>
                <a:cs typeface="Times New Roman" panose="02020603050405020304" pitchFamily="18" charset="0"/>
              </a:rPr>
              <a:t>như</a:t>
            </a:r>
            <a:r>
              <a:rPr lang="en-US" sz="4800" dirty="0">
                <a:latin typeface="Times New Roman" panose="02020603050405020304" pitchFamily="18" charset="0"/>
                <a:cs typeface="Times New Roman" panose="02020603050405020304" pitchFamily="18" charset="0"/>
              </a:rPr>
              <a:t> </a:t>
            </a:r>
            <a:r>
              <a:rPr lang="en-US" sz="4800" dirty="0" err="1">
                <a:latin typeface="Times New Roman" panose="02020603050405020304" pitchFamily="18" charset="0"/>
                <a:cs typeface="Times New Roman" panose="02020603050405020304" pitchFamily="18" charset="0"/>
              </a:rPr>
              <a:t>thế</a:t>
            </a:r>
            <a:r>
              <a:rPr lang="en-US" sz="4800" dirty="0">
                <a:latin typeface="Times New Roman" panose="02020603050405020304" pitchFamily="18" charset="0"/>
                <a:cs typeface="Times New Roman" panose="02020603050405020304" pitchFamily="18" charset="0"/>
              </a:rPr>
              <a:t> </a:t>
            </a:r>
            <a:r>
              <a:rPr lang="en-US" sz="4800" dirty="0" err="1">
                <a:latin typeface="Times New Roman" panose="02020603050405020304" pitchFamily="18" charset="0"/>
                <a:cs typeface="Times New Roman" panose="02020603050405020304" pitchFamily="18" charset="0"/>
              </a:rPr>
              <a:t>nào</a:t>
            </a:r>
            <a:r>
              <a:rPr lang="en-US" sz="4800" dirty="0">
                <a:latin typeface="Times New Roman" panose="02020603050405020304" pitchFamily="18" charset="0"/>
                <a:cs typeface="Times New Roman" panose="02020603050405020304" pitchFamily="18" charset="0"/>
              </a:rPr>
              <a:t>?</a:t>
            </a:r>
            <a:endParaRPr lang="en-US" sz="4800" dirty="0">
              <a:latin typeface="Times New Roman" panose="02020603050405020304" pitchFamily="18" charset="0"/>
              <a:cs typeface="Times New Roman" panose="02020603050405020304" pitchFamily="18" charset="0"/>
            </a:endParaRPr>
          </a:p>
        </p:txBody>
      </p:sp>
      <p:sp>
        <p:nvSpPr>
          <p:cNvPr id="162" name="TextBox 161"/>
          <p:cNvSpPr txBox="1"/>
          <p:nvPr/>
        </p:nvSpPr>
        <p:spPr>
          <a:xfrm>
            <a:off x="14730983" y="4224801"/>
            <a:ext cx="2403524" cy="4523105"/>
          </a:xfrm>
          <a:prstGeom prst="rect">
            <a:avLst/>
          </a:prstGeom>
          <a:noFill/>
        </p:spPr>
        <p:txBody>
          <a:bodyPr wrap="square" rtlCol="0">
            <a:spAutoFit/>
          </a:bodyPr>
          <a:lstStyle/>
          <a:p>
            <a:pPr algn="ctr"/>
            <a:r>
              <a:rPr lang="en-US" sz="4800" dirty="0" err="1">
                <a:latin typeface="Times New Roman" panose="02020603050405020304" pitchFamily="18" charset="0"/>
                <a:cs typeface="Times New Roman" panose="02020603050405020304" pitchFamily="18" charset="0"/>
              </a:rPr>
              <a:t>Nhà</a:t>
            </a:r>
            <a:r>
              <a:rPr lang="en-US" sz="4800" dirty="0">
                <a:latin typeface="Times New Roman" panose="02020603050405020304" pitchFamily="18" charset="0"/>
                <a:cs typeface="Times New Roman" panose="02020603050405020304" pitchFamily="18" charset="0"/>
              </a:rPr>
              <a:t> </a:t>
            </a:r>
            <a:r>
              <a:rPr lang="en-US" sz="4800" dirty="0" err="1">
                <a:latin typeface="Times New Roman" panose="02020603050405020304" pitchFamily="18" charset="0"/>
                <a:cs typeface="Times New Roman" panose="02020603050405020304" pitchFamily="18" charset="0"/>
              </a:rPr>
              <a:t>nước</a:t>
            </a:r>
            <a:r>
              <a:rPr lang="en-US" sz="4800" dirty="0">
                <a:latin typeface="Times New Roman" panose="02020603050405020304" pitchFamily="18" charset="0"/>
                <a:cs typeface="Times New Roman" panose="02020603050405020304" pitchFamily="18" charset="0"/>
              </a:rPr>
              <a:t> </a:t>
            </a:r>
            <a:r>
              <a:rPr lang="en-US" sz="4800" dirty="0" err="1">
                <a:latin typeface="Times New Roman" panose="02020603050405020304" pitchFamily="18" charset="0"/>
                <a:cs typeface="Times New Roman" panose="02020603050405020304" pitchFamily="18" charset="0"/>
              </a:rPr>
              <a:t>Văn</a:t>
            </a:r>
            <a:r>
              <a:rPr lang="en-US" sz="4800" dirty="0">
                <a:latin typeface="Times New Roman" panose="02020603050405020304" pitchFamily="18" charset="0"/>
                <a:cs typeface="Times New Roman" panose="02020603050405020304" pitchFamily="18" charset="0"/>
              </a:rPr>
              <a:t> Lang ra </a:t>
            </a:r>
            <a:r>
              <a:rPr lang="en-US" sz="4800" dirty="0" err="1">
                <a:latin typeface="Times New Roman" panose="02020603050405020304" pitchFamily="18" charset="0"/>
                <a:cs typeface="Times New Roman" panose="02020603050405020304" pitchFamily="18" charset="0"/>
              </a:rPr>
              <a:t>đời</a:t>
            </a:r>
            <a:r>
              <a:rPr lang="en-US" sz="4800" dirty="0">
                <a:latin typeface="Times New Roman" panose="02020603050405020304" pitchFamily="18" charset="0"/>
                <a:cs typeface="Times New Roman" panose="02020603050405020304" pitchFamily="18" charset="0"/>
              </a:rPr>
              <a:t> </a:t>
            </a:r>
            <a:r>
              <a:rPr lang="en-US" sz="4800" dirty="0" err="1">
                <a:latin typeface="Times New Roman" panose="02020603050405020304" pitchFamily="18" charset="0"/>
                <a:cs typeface="Times New Roman" panose="02020603050405020304" pitchFamily="18" charset="0"/>
              </a:rPr>
              <a:t>có</a:t>
            </a:r>
            <a:r>
              <a:rPr lang="en-US" sz="4800" dirty="0">
                <a:latin typeface="Times New Roman" panose="02020603050405020304" pitchFamily="18" charset="0"/>
                <a:cs typeface="Times New Roman" panose="02020603050405020304" pitchFamily="18" charset="0"/>
              </a:rPr>
              <a:t> ý </a:t>
            </a:r>
            <a:r>
              <a:rPr lang="en-US" sz="4800" dirty="0" err="1">
                <a:latin typeface="Times New Roman" panose="02020603050405020304" pitchFamily="18" charset="0"/>
                <a:cs typeface="Times New Roman" panose="02020603050405020304" pitchFamily="18" charset="0"/>
              </a:rPr>
              <a:t>nghĩa</a:t>
            </a:r>
            <a:r>
              <a:rPr lang="en-US" sz="4800" dirty="0">
                <a:latin typeface="Times New Roman" panose="02020603050405020304" pitchFamily="18" charset="0"/>
                <a:cs typeface="Times New Roman" panose="02020603050405020304" pitchFamily="18" charset="0"/>
              </a:rPr>
              <a:t> </a:t>
            </a:r>
            <a:r>
              <a:rPr lang="en-US" sz="4800" dirty="0" err="1">
                <a:latin typeface="Times New Roman" panose="02020603050405020304" pitchFamily="18" charset="0"/>
                <a:cs typeface="Times New Roman" panose="02020603050405020304" pitchFamily="18" charset="0"/>
              </a:rPr>
              <a:t>gì</a:t>
            </a:r>
            <a:r>
              <a:rPr lang="en-US" sz="4800" dirty="0">
                <a:latin typeface="Times New Roman" panose="02020603050405020304" pitchFamily="18" charset="0"/>
                <a:cs typeface="Times New Roman" panose="02020603050405020304" pitchFamily="18" charset="0"/>
              </a:rPr>
              <a:t>?</a:t>
            </a:r>
            <a:endParaRPr lang="en-US" sz="4800" dirty="0">
              <a:latin typeface="Times New Roman" panose="02020603050405020304" pitchFamily="18" charset="0"/>
              <a:cs typeface="Times New Roman" panose="02020603050405020304" pitchFamily="18" charset="0"/>
            </a:endParaRPr>
          </a:p>
        </p:txBody>
      </p:sp>
      <p:sp>
        <p:nvSpPr>
          <p:cNvPr id="48" name="Frame 47"/>
          <p:cNvSpPr/>
          <p:nvPr/>
        </p:nvSpPr>
        <p:spPr>
          <a:xfrm>
            <a:off x="0" y="0"/>
            <a:ext cx="18288000" cy="10287000"/>
          </a:xfrm>
          <a:prstGeom prst="frame">
            <a:avLst>
              <a:gd name="adj1" fmla="val 1528"/>
            </a:avLst>
          </a:prstGeom>
          <a:blipFill>
            <a:blip r:embed="rId9"/>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spTree>
    <p:custDataLst>
      <p:tags r:id="rId10"/>
    </p:custData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blipFill rotWithShape="1">
          <a:blip r:embed="rId1"/>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5181600" y="2171700"/>
            <a:ext cx="12696825" cy="7142480"/>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pic>
        <p:nvPicPr>
          <p:cNvPr id="6" name="Khái-quát-nhà-nước-Văn-Lang-BB-_1_">
            <a:hlinkClick r:id="" action="ppaction://media"/>
          </p:cNvPr>
          <p:cNvPicPr>
            <a:picLocks noChangeAspect="1"/>
          </p:cNvPicPr>
          <p:nvPr>
            <a:videoFile r:link="rId3"/>
            <p:extLst>
              <p:ext uri="{DAA4B4D4-6D71-4841-9C94-3DE7FCFB9230}">
                <p14:media xmlns:p14="http://schemas.microsoft.com/office/powerpoint/2010/main" r:embed="rId4"/>
              </p:ext>
            </p:extLst>
          </p:nvPr>
        </p:nvPicPr>
        <p:blipFill>
          <a:blip r:embed="rId5"/>
          <a:stretch>
            <a:fillRect/>
          </a:stretch>
        </p:blipFill>
        <p:spPr>
          <a:xfrm>
            <a:off x="228712" y="1943163"/>
            <a:ext cx="7997952" cy="5843462"/>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
        <p:nvSpPr>
          <p:cNvPr id="7" name="TextBox 6"/>
          <p:cNvSpPr txBox="1"/>
          <p:nvPr/>
        </p:nvSpPr>
        <p:spPr>
          <a:xfrm>
            <a:off x="6248400" y="5067300"/>
            <a:ext cx="1155065" cy="2376170"/>
          </a:xfrm>
          <a:prstGeom prst="rect">
            <a:avLst/>
          </a:prstGeom>
          <a:solidFill>
            <a:schemeClr val="bg1"/>
          </a:solidFill>
        </p:spPr>
        <p:txBody>
          <a:bodyPr wrap="square" rtlCol="0">
            <a:noAutofit/>
          </a:bodyPr>
          <a:lstStyle/>
          <a:p>
            <a:pPr algn="ctr"/>
            <a:r>
              <a:rPr lang="en-US" sz="3200" dirty="0" err="1">
                <a:solidFill>
                  <a:srgbClr val="0070C0"/>
                </a:solidFill>
                <a:latin typeface="Times New Roman" panose="02020603050405020304" pitchFamily="18" charset="0"/>
                <a:cs typeface="Times New Roman" panose="02020603050405020304" pitchFamily="18" charset="0"/>
              </a:rPr>
              <a:t>Thế</a:t>
            </a:r>
            <a:r>
              <a:rPr lang="en-US" sz="3200" dirty="0">
                <a:solidFill>
                  <a:srgbClr val="0070C0"/>
                </a:solidFill>
                <a:latin typeface="Times New Roman" panose="02020603050405020304" pitchFamily="18" charset="0"/>
                <a:cs typeface="Times New Roman" panose="02020603050405020304" pitchFamily="18" charset="0"/>
              </a:rPr>
              <a:t> </a:t>
            </a:r>
            <a:r>
              <a:rPr lang="en-US" sz="3200" dirty="0" err="1">
                <a:solidFill>
                  <a:srgbClr val="0070C0"/>
                </a:solidFill>
                <a:latin typeface="Times New Roman" panose="02020603050405020304" pitchFamily="18" charset="0"/>
                <a:cs typeface="Times New Roman" panose="02020603050405020304" pitchFamily="18" charset="0"/>
              </a:rPr>
              <a:t>kỉ</a:t>
            </a:r>
            <a:r>
              <a:rPr lang="en-US" sz="3200" dirty="0">
                <a:solidFill>
                  <a:srgbClr val="0070C0"/>
                </a:solidFill>
                <a:latin typeface="Times New Roman" panose="02020603050405020304" pitchFamily="18" charset="0"/>
                <a:cs typeface="Times New Roman" panose="02020603050405020304" pitchFamily="18" charset="0"/>
              </a:rPr>
              <a:t> VII TCN</a:t>
            </a:r>
            <a:endParaRPr lang="en-US" sz="3200" dirty="0">
              <a:solidFill>
                <a:srgbClr val="0070C0"/>
              </a:solidFill>
              <a:latin typeface="Times New Roman" panose="02020603050405020304" pitchFamily="18" charset="0"/>
              <a:cs typeface="Times New Roman" panose="02020603050405020304" pitchFamily="18" charset="0"/>
            </a:endParaRPr>
          </a:p>
          <a:p>
            <a:pPr algn="ctr"/>
            <a:endParaRPr lang="en-US" sz="3200" dirty="0">
              <a:solidFill>
                <a:srgbClr val="0070C0"/>
              </a:solidFill>
              <a:latin typeface="Times New Roman" panose="02020603050405020304" pitchFamily="18" charset="0"/>
              <a:cs typeface="Times New Roman" panose="02020603050405020304" pitchFamily="18" charset="0"/>
            </a:endParaRPr>
          </a:p>
        </p:txBody>
      </p:sp>
      <p:sp>
        <p:nvSpPr>
          <p:cNvPr id="8" name="TextBox 7"/>
          <p:cNvSpPr txBox="1"/>
          <p:nvPr/>
        </p:nvSpPr>
        <p:spPr>
          <a:xfrm>
            <a:off x="8153359" y="4990936"/>
            <a:ext cx="1155032" cy="2999740"/>
          </a:xfrm>
          <a:prstGeom prst="rect">
            <a:avLst/>
          </a:prstGeom>
          <a:solidFill>
            <a:schemeClr val="bg1"/>
          </a:solidFill>
        </p:spPr>
        <p:txBody>
          <a:bodyPr wrap="square" rtlCol="0">
            <a:spAutoFit/>
          </a:bodyPr>
          <a:lstStyle/>
          <a:p>
            <a:pPr algn="ctr"/>
            <a:r>
              <a:rPr lang="en-US" sz="2700" dirty="0" err="1">
                <a:solidFill>
                  <a:srgbClr val="0070C0"/>
                </a:solidFill>
                <a:latin typeface="Times New Roman" panose="02020603050405020304" pitchFamily="18" charset="0"/>
                <a:cs typeface="Times New Roman" panose="02020603050405020304" pitchFamily="18" charset="0"/>
              </a:rPr>
              <a:t>Bắc</a:t>
            </a:r>
            <a:r>
              <a:rPr lang="en-US" sz="2700" dirty="0">
                <a:solidFill>
                  <a:srgbClr val="0070C0"/>
                </a:solidFill>
                <a:latin typeface="Times New Roman" panose="02020603050405020304" pitchFamily="18" charset="0"/>
                <a:cs typeface="Times New Roman" panose="02020603050405020304" pitchFamily="18" charset="0"/>
              </a:rPr>
              <a:t> </a:t>
            </a:r>
            <a:r>
              <a:rPr lang="en-US" sz="2700" dirty="0" err="1">
                <a:solidFill>
                  <a:srgbClr val="0070C0"/>
                </a:solidFill>
                <a:latin typeface="Times New Roman" panose="02020603050405020304" pitchFamily="18" charset="0"/>
                <a:cs typeface="Times New Roman" panose="02020603050405020304" pitchFamily="18" charset="0"/>
              </a:rPr>
              <a:t>Bộ</a:t>
            </a:r>
            <a:r>
              <a:rPr lang="en-US" sz="2700" dirty="0">
                <a:solidFill>
                  <a:srgbClr val="0070C0"/>
                </a:solidFill>
                <a:latin typeface="Times New Roman" panose="02020603050405020304" pitchFamily="18" charset="0"/>
                <a:cs typeface="Times New Roman" panose="02020603050405020304" pitchFamily="18" charset="0"/>
              </a:rPr>
              <a:t> </a:t>
            </a:r>
            <a:r>
              <a:rPr lang="en-US" sz="2700" dirty="0" err="1">
                <a:solidFill>
                  <a:srgbClr val="0070C0"/>
                </a:solidFill>
                <a:latin typeface="Times New Roman" panose="02020603050405020304" pitchFamily="18" charset="0"/>
                <a:cs typeface="Times New Roman" panose="02020603050405020304" pitchFamily="18" charset="0"/>
              </a:rPr>
              <a:t>và</a:t>
            </a:r>
            <a:r>
              <a:rPr lang="en-US" sz="2700" dirty="0">
                <a:solidFill>
                  <a:srgbClr val="0070C0"/>
                </a:solidFill>
                <a:latin typeface="Times New Roman" panose="02020603050405020304" pitchFamily="18" charset="0"/>
                <a:cs typeface="Times New Roman" panose="02020603050405020304" pitchFamily="18" charset="0"/>
              </a:rPr>
              <a:t> </a:t>
            </a:r>
            <a:r>
              <a:rPr lang="en-US" sz="2700" dirty="0" err="1">
                <a:solidFill>
                  <a:srgbClr val="0070C0"/>
                </a:solidFill>
                <a:latin typeface="Times New Roman" panose="02020603050405020304" pitchFamily="18" charset="0"/>
                <a:cs typeface="Times New Roman" panose="02020603050405020304" pitchFamily="18" charset="0"/>
              </a:rPr>
              <a:t>Bắc</a:t>
            </a:r>
            <a:r>
              <a:rPr lang="en-US" sz="2700" dirty="0">
                <a:solidFill>
                  <a:srgbClr val="0070C0"/>
                </a:solidFill>
                <a:latin typeface="Times New Roman" panose="02020603050405020304" pitchFamily="18" charset="0"/>
                <a:cs typeface="Times New Roman" panose="02020603050405020304" pitchFamily="18" charset="0"/>
              </a:rPr>
              <a:t> </a:t>
            </a:r>
            <a:r>
              <a:rPr lang="en-US" sz="2700" dirty="0" err="1">
                <a:solidFill>
                  <a:srgbClr val="0070C0"/>
                </a:solidFill>
                <a:latin typeface="Times New Roman" panose="02020603050405020304" pitchFamily="18" charset="0"/>
                <a:cs typeface="Times New Roman" panose="02020603050405020304" pitchFamily="18" charset="0"/>
              </a:rPr>
              <a:t>Trung</a:t>
            </a:r>
            <a:r>
              <a:rPr lang="en-US" sz="2700" dirty="0">
                <a:solidFill>
                  <a:srgbClr val="0070C0"/>
                </a:solidFill>
                <a:latin typeface="Times New Roman" panose="02020603050405020304" pitchFamily="18" charset="0"/>
                <a:cs typeface="Times New Roman" panose="02020603050405020304" pitchFamily="18" charset="0"/>
              </a:rPr>
              <a:t> </a:t>
            </a:r>
            <a:r>
              <a:rPr lang="en-US" sz="2700" dirty="0" err="1">
                <a:solidFill>
                  <a:srgbClr val="0070C0"/>
                </a:solidFill>
                <a:latin typeface="Times New Roman" panose="02020603050405020304" pitchFamily="18" charset="0"/>
                <a:cs typeface="Times New Roman" panose="02020603050405020304" pitchFamily="18" charset="0"/>
              </a:rPr>
              <a:t>Bộ</a:t>
            </a:r>
            <a:r>
              <a:rPr lang="en-US" sz="2700" dirty="0">
                <a:solidFill>
                  <a:srgbClr val="0070C0"/>
                </a:solidFill>
                <a:latin typeface="Times New Roman" panose="02020603050405020304" pitchFamily="18" charset="0"/>
                <a:cs typeface="Times New Roman" panose="02020603050405020304" pitchFamily="18" charset="0"/>
              </a:rPr>
              <a:t> </a:t>
            </a:r>
            <a:r>
              <a:rPr lang="en-US" sz="2700" dirty="0" err="1">
                <a:solidFill>
                  <a:srgbClr val="0070C0"/>
                </a:solidFill>
                <a:latin typeface="Times New Roman" panose="02020603050405020304" pitchFamily="18" charset="0"/>
                <a:cs typeface="Times New Roman" panose="02020603050405020304" pitchFamily="18" charset="0"/>
              </a:rPr>
              <a:t>hiện</a:t>
            </a:r>
            <a:r>
              <a:rPr lang="en-US" sz="2700" dirty="0">
                <a:solidFill>
                  <a:srgbClr val="0070C0"/>
                </a:solidFill>
                <a:latin typeface="Times New Roman" panose="02020603050405020304" pitchFamily="18" charset="0"/>
                <a:cs typeface="Times New Roman" panose="02020603050405020304" pitchFamily="18" charset="0"/>
              </a:rPr>
              <a:t> nay</a:t>
            </a:r>
            <a:endParaRPr lang="en-US" sz="2700" dirty="0">
              <a:solidFill>
                <a:srgbClr val="0070C0"/>
              </a:solidFill>
              <a:latin typeface="Times New Roman" panose="02020603050405020304" pitchFamily="18" charset="0"/>
              <a:cs typeface="Times New Roman" panose="02020603050405020304" pitchFamily="18" charset="0"/>
            </a:endParaRPr>
          </a:p>
        </p:txBody>
      </p:sp>
      <p:sp>
        <p:nvSpPr>
          <p:cNvPr id="10" name="TextBox 9"/>
          <p:cNvSpPr txBox="1"/>
          <p:nvPr/>
        </p:nvSpPr>
        <p:spPr>
          <a:xfrm>
            <a:off x="9792335" y="5230495"/>
            <a:ext cx="1630045" cy="1555750"/>
          </a:xfrm>
          <a:prstGeom prst="rect">
            <a:avLst/>
          </a:prstGeom>
          <a:solidFill>
            <a:schemeClr val="bg1"/>
          </a:solidFill>
        </p:spPr>
        <p:txBody>
          <a:bodyPr wrap="square" rtlCol="0">
            <a:noAutofit/>
          </a:bodyPr>
          <a:lstStyle/>
          <a:p>
            <a:pPr algn="ctr"/>
            <a:r>
              <a:rPr lang="en-US" sz="4000" dirty="0" err="1">
                <a:solidFill>
                  <a:srgbClr val="0070C0"/>
                </a:solidFill>
                <a:latin typeface="Times New Roman" panose="02020603050405020304" pitchFamily="18" charset="0"/>
                <a:cs typeface="Times New Roman" panose="02020603050405020304" pitchFamily="18" charset="0"/>
              </a:rPr>
              <a:t>Hùng</a:t>
            </a:r>
            <a:r>
              <a:rPr lang="en-US" sz="4000" dirty="0">
                <a:solidFill>
                  <a:srgbClr val="0070C0"/>
                </a:solidFill>
                <a:latin typeface="Times New Roman" panose="02020603050405020304" pitchFamily="18" charset="0"/>
                <a:cs typeface="Times New Roman" panose="02020603050405020304" pitchFamily="18" charset="0"/>
              </a:rPr>
              <a:t> </a:t>
            </a:r>
            <a:r>
              <a:rPr lang="en-US" sz="4000" dirty="0" err="1">
                <a:solidFill>
                  <a:srgbClr val="0070C0"/>
                </a:solidFill>
                <a:latin typeface="Times New Roman" panose="02020603050405020304" pitchFamily="18" charset="0"/>
                <a:cs typeface="Times New Roman" panose="02020603050405020304" pitchFamily="18" charset="0"/>
              </a:rPr>
              <a:t>Vương</a:t>
            </a:r>
            <a:endParaRPr lang="en-US" sz="4000" dirty="0">
              <a:solidFill>
                <a:srgbClr val="0070C0"/>
              </a:solidFill>
              <a:latin typeface="Times New Roman" panose="02020603050405020304" pitchFamily="18" charset="0"/>
              <a:cs typeface="Times New Roman" panose="02020603050405020304" pitchFamily="18" charset="0"/>
            </a:endParaRPr>
          </a:p>
          <a:p>
            <a:pPr algn="ctr"/>
            <a:endParaRPr lang="en-US" sz="4000" dirty="0">
              <a:solidFill>
                <a:srgbClr val="0070C0"/>
              </a:solidFill>
              <a:latin typeface="Times New Roman" panose="02020603050405020304" pitchFamily="18" charset="0"/>
              <a:cs typeface="Times New Roman" panose="02020603050405020304" pitchFamily="18" charset="0"/>
            </a:endParaRPr>
          </a:p>
        </p:txBody>
      </p:sp>
      <p:sp>
        <p:nvSpPr>
          <p:cNvPr id="11" name="TextBox 10"/>
          <p:cNvSpPr txBox="1"/>
          <p:nvPr/>
        </p:nvSpPr>
        <p:spPr>
          <a:xfrm>
            <a:off x="11658600" y="4838700"/>
            <a:ext cx="1718310" cy="3046095"/>
          </a:xfrm>
          <a:prstGeom prst="rect">
            <a:avLst/>
          </a:prstGeom>
          <a:solidFill>
            <a:schemeClr val="bg1"/>
          </a:solidFill>
        </p:spPr>
        <p:txBody>
          <a:bodyPr wrap="square" rtlCol="0">
            <a:spAutoFit/>
          </a:bodyPr>
          <a:lstStyle/>
          <a:p>
            <a:r>
              <a:rPr lang="en-US" sz="3200" dirty="0">
                <a:solidFill>
                  <a:srgbClr val="0070C0"/>
                </a:solidFill>
                <a:latin typeface="Times New Roman" panose="02020603050405020304" pitchFamily="18" charset="0"/>
                <a:cs typeface="Times New Roman" panose="02020603050405020304" pitchFamily="18" charset="0"/>
              </a:rPr>
              <a:t>-</a:t>
            </a:r>
            <a:r>
              <a:rPr lang="en-US" sz="3200" dirty="0" err="1">
                <a:solidFill>
                  <a:srgbClr val="0070C0"/>
                </a:solidFill>
                <a:latin typeface="Times New Roman" panose="02020603050405020304" pitchFamily="18" charset="0"/>
                <a:cs typeface="Times New Roman" panose="02020603050405020304" pitchFamily="18" charset="0"/>
              </a:rPr>
              <a:t>Kinh</a:t>
            </a:r>
            <a:r>
              <a:rPr lang="en-US" sz="3200" dirty="0">
                <a:solidFill>
                  <a:srgbClr val="0070C0"/>
                </a:solidFill>
                <a:latin typeface="Times New Roman" panose="02020603050405020304" pitchFamily="18" charset="0"/>
                <a:cs typeface="Times New Roman" panose="02020603050405020304" pitchFamily="18" charset="0"/>
              </a:rPr>
              <a:t> </a:t>
            </a:r>
            <a:r>
              <a:rPr lang="en-US" sz="3200" dirty="0" err="1">
                <a:solidFill>
                  <a:srgbClr val="0070C0"/>
                </a:solidFill>
                <a:latin typeface="Times New Roman" panose="02020603050405020304" pitchFamily="18" charset="0"/>
                <a:cs typeface="Times New Roman" panose="02020603050405020304" pitchFamily="18" charset="0"/>
              </a:rPr>
              <a:t>tế</a:t>
            </a:r>
            <a:endParaRPr lang="en-US" sz="3200" dirty="0">
              <a:solidFill>
                <a:srgbClr val="0070C0"/>
              </a:solidFill>
              <a:latin typeface="Times New Roman" panose="02020603050405020304" pitchFamily="18" charset="0"/>
              <a:cs typeface="Times New Roman" panose="02020603050405020304" pitchFamily="18" charset="0"/>
            </a:endParaRPr>
          </a:p>
          <a:p>
            <a:r>
              <a:rPr lang="en-US" sz="3200" dirty="0">
                <a:solidFill>
                  <a:srgbClr val="0070C0"/>
                </a:solidFill>
                <a:latin typeface="Times New Roman" panose="02020603050405020304" pitchFamily="18" charset="0"/>
                <a:cs typeface="Times New Roman" panose="02020603050405020304" pitchFamily="18" charset="0"/>
              </a:rPr>
              <a:t>-</a:t>
            </a:r>
            <a:r>
              <a:rPr lang="en-US" sz="3200" dirty="0" err="1">
                <a:solidFill>
                  <a:srgbClr val="0070C0"/>
                </a:solidFill>
                <a:latin typeface="Times New Roman" panose="02020603050405020304" pitchFamily="18" charset="0"/>
                <a:cs typeface="Times New Roman" panose="02020603050405020304" pitchFamily="18" charset="0"/>
              </a:rPr>
              <a:t>Xã</a:t>
            </a:r>
            <a:r>
              <a:rPr lang="en-US" sz="3200" dirty="0">
                <a:solidFill>
                  <a:srgbClr val="0070C0"/>
                </a:solidFill>
                <a:latin typeface="Times New Roman" panose="02020603050405020304" pitchFamily="18" charset="0"/>
                <a:cs typeface="Times New Roman" panose="02020603050405020304" pitchFamily="18" charset="0"/>
              </a:rPr>
              <a:t> </a:t>
            </a:r>
            <a:r>
              <a:rPr lang="en-US" sz="3200" dirty="0" err="1">
                <a:solidFill>
                  <a:srgbClr val="0070C0"/>
                </a:solidFill>
                <a:latin typeface="Times New Roman" panose="02020603050405020304" pitchFamily="18" charset="0"/>
                <a:cs typeface="Times New Roman" panose="02020603050405020304" pitchFamily="18" charset="0"/>
              </a:rPr>
              <a:t>hội</a:t>
            </a:r>
            <a:endParaRPr lang="en-US" sz="3200" dirty="0">
              <a:solidFill>
                <a:srgbClr val="0070C0"/>
              </a:solidFill>
              <a:latin typeface="Times New Roman" panose="02020603050405020304" pitchFamily="18" charset="0"/>
              <a:cs typeface="Times New Roman" panose="02020603050405020304" pitchFamily="18" charset="0"/>
            </a:endParaRPr>
          </a:p>
          <a:p>
            <a:r>
              <a:rPr lang="en-US" sz="3200" dirty="0">
                <a:solidFill>
                  <a:srgbClr val="0070C0"/>
                </a:solidFill>
                <a:latin typeface="Times New Roman" panose="02020603050405020304" pitchFamily="18" charset="0"/>
                <a:cs typeface="Times New Roman" panose="02020603050405020304" pitchFamily="18" charset="0"/>
              </a:rPr>
              <a:t>-</a:t>
            </a:r>
            <a:r>
              <a:rPr lang="en-US" sz="3200" dirty="0" err="1">
                <a:solidFill>
                  <a:srgbClr val="0070C0"/>
                </a:solidFill>
                <a:latin typeface="Times New Roman" panose="02020603050405020304" pitchFamily="18" charset="0"/>
                <a:cs typeface="Times New Roman" panose="02020603050405020304" pitchFamily="18" charset="0"/>
              </a:rPr>
              <a:t>Nhu</a:t>
            </a:r>
            <a:r>
              <a:rPr lang="en-US" sz="3200" dirty="0">
                <a:solidFill>
                  <a:srgbClr val="0070C0"/>
                </a:solidFill>
                <a:latin typeface="Times New Roman" panose="02020603050405020304" pitchFamily="18" charset="0"/>
                <a:cs typeface="Times New Roman" panose="02020603050405020304" pitchFamily="18" charset="0"/>
              </a:rPr>
              <a:t> </a:t>
            </a:r>
            <a:r>
              <a:rPr lang="en-US" sz="3200" dirty="0" err="1">
                <a:solidFill>
                  <a:srgbClr val="0070C0"/>
                </a:solidFill>
                <a:latin typeface="Times New Roman" panose="02020603050405020304" pitchFamily="18" charset="0"/>
                <a:cs typeface="Times New Roman" panose="02020603050405020304" pitchFamily="18" charset="0"/>
              </a:rPr>
              <a:t>cầu</a:t>
            </a:r>
            <a:r>
              <a:rPr lang="en-US" sz="3200" dirty="0">
                <a:solidFill>
                  <a:srgbClr val="0070C0"/>
                </a:solidFill>
                <a:latin typeface="Times New Roman" panose="02020603050405020304" pitchFamily="18" charset="0"/>
                <a:cs typeface="Times New Roman" panose="02020603050405020304" pitchFamily="18" charset="0"/>
              </a:rPr>
              <a:t> </a:t>
            </a:r>
            <a:r>
              <a:rPr lang="en-US" sz="3200" dirty="0" err="1">
                <a:solidFill>
                  <a:srgbClr val="0070C0"/>
                </a:solidFill>
                <a:latin typeface="Times New Roman" panose="02020603050405020304" pitchFamily="18" charset="0"/>
                <a:cs typeface="Times New Roman" panose="02020603050405020304" pitchFamily="18" charset="0"/>
              </a:rPr>
              <a:t>chung</a:t>
            </a:r>
            <a:r>
              <a:rPr lang="en-US" sz="3200" dirty="0">
                <a:solidFill>
                  <a:srgbClr val="0070C0"/>
                </a:solidFill>
                <a:latin typeface="Times New Roman" panose="02020603050405020304" pitchFamily="18" charset="0"/>
                <a:cs typeface="Times New Roman" panose="02020603050405020304" pitchFamily="18" charset="0"/>
              </a:rPr>
              <a:t> </a:t>
            </a:r>
            <a:r>
              <a:rPr lang="en-US" sz="3200" dirty="0" err="1">
                <a:solidFill>
                  <a:srgbClr val="0070C0"/>
                </a:solidFill>
                <a:latin typeface="Times New Roman" panose="02020603050405020304" pitchFamily="18" charset="0"/>
                <a:cs typeface="Times New Roman" panose="02020603050405020304" pitchFamily="18" charset="0"/>
              </a:rPr>
              <a:t>sống</a:t>
            </a:r>
            <a:endParaRPr lang="en-US" sz="3200" dirty="0">
              <a:solidFill>
                <a:srgbClr val="0070C0"/>
              </a:solidFill>
              <a:latin typeface="Times New Roman" panose="02020603050405020304" pitchFamily="18" charset="0"/>
              <a:cs typeface="Times New Roman" panose="02020603050405020304" pitchFamily="18" charset="0"/>
            </a:endParaRPr>
          </a:p>
          <a:p>
            <a:endParaRPr lang="en-US" sz="3200" dirty="0">
              <a:solidFill>
                <a:srgbClr val="0070C0"/>
              </a:solidFill>
              <a:latin typeface="Times New Roman" panose="02020603050405020304" pitchFamily="18" charset="0"/>
              <a:cs typeface="Times New Roman" panose="02020603050405020304" pitchFamily="18" charset="0"/>
            </a:endParaRPr>
          </a:p>
        </p:txBody>
      </p:sp>
      <p:sp>
        <p:nvSpPr>
          <p:cNvPr id="12" name="TextBox 11"/>
          <p:cNvSpPr txBox="1"/>
          <p:nvPr/>
        </p:nvSpPr>
        <p:spPr>
          <a:xfrm>
            <a:off x="13639800" y="5143500"/>
            <a:ext cx="1480185" cy="3101340"/>
          </a:xfrm>
          <a:prstGeom prst="rect">
            <a:avLst/>
          </a:prstGeom>
          <a:solidFill>
            <a:schemeClr val="bg1"/>
          </a:solidFill>
        </p:spPr>
        <p:txBody>
          <a:bodyPr wrap="square" rtlCol="0">
            <a:noAutofit/>
          </a:bodyPr>
          <a:lstStyle/>
          <a:p>
            <a:pPr algn="ctr"/>
            <a:r>
              <a:rPr lang="en-US" sz="3200" dirty="0">
                <a:solidFill>
                  <a:srgbClr val="0070C0"/>
                </a:solidFill>
                <a:latin typeface="Times New Roman" panose="02020603050405020304" pitchFamily="18" charset="0"/>
                <a:cs typeface="Times New Roman" panose="02020603050405020304" pitchFamily="18" charset="0"/>
              </a:rPr>
              <a:t>15 </a:t>
            </a:r>
            <a:r>
              <a:rPr lang="en-US" sz="3200" dirty="0" err="1">
                <a:solidFill>
                  <a:srgbClr val="0070C0"/>
                </a:solidFill>
                <a:latin typeface="Times New Roman" panose="02020603050405020304" pitchFamily="18" charset="0"/>
                <a:cs typeface="Times New Roman" panose="02020603050405020304" pitchFamily="18" charset="0"/>
              </a:rPr>
              <a:t>bộ</a:t>
            </a:r>
            <a:endParaRPr lang="en-US" sz="3200" dirty="0">
              <a:solidFill>
                <a:srgbClr val="0070C0"/>
              </a:solidFill>
              <a:latin typeface="Times New Roman" panose="02020603050405020304" pitchFamily="18" charset="0"/>
              <a:cs typeface="Times New Roman" panose="02020603050405020304" pitchFamily="18" charset="0"/>
            </a:endParaRPr>
          </a:p>
          <a:p>
            <a:pPr algn="ctr"/>
            <a:r>
              <a:rPr lang="en-US" sz="3200" dirty="0" err="1">
                <a:solidFill>
                  <a:srgbClr val="0070C0"/>
                </a:solidFill>
                <a:latin typeface="Times New Roman" panose="02020603050405020304" pitchFamily="18" charset="0"/>
                <a:cs typeface="Times New Roman" panose="02020603050405020304" pitchFamily="18" charset="0"/>
              </a:rPr>
              <a:t>Tổ</a:t>
            </a:r>
            <a:r>
              <a:rPr lang="en-US" sz="3200" dirty="0">
                <a:solidFill>
                  <a:srgbClr val="0070C0"/>
                </a:solidFill>
                <a:latin typeface="Times New Roman" panose="02020603050405020304" pitchFamily="18" charset="0"/>
                <a:cs typeface="Times New Roman" panose="02020603050405020304" pitchFamily="18" charset="0"/>
              </a:rPr>
              <a:t> </a:t>
            </a:r>
            <a:r>
              <a:rPr lang="en-US" sz="3200" dirty="0" err="1">
                <a:solidFill>
                  <a:srgbClr val="0070C0"/>
                </a:solidFill>
                <a:latin typeface="Times New Roman" panose="02020603050405020304" pitchFamily="18" charset="0"/>
                <a:cs typeface="Times New Roman" panose="02020603050405020304" pitchFamily="18" charset="0"/>
              </a:rPr>
              <a:t>chức</a:t>
            </a:r>
            <a:r>
              <a:rPr lang="en-US" sz="3200" dirty="0">
                <a:solidFill>
                  <a:srgbClr val="0070C0"/>
                </a:solidFill>
                <a:latin typeface="Times New Roman" panose="02020603050405020304" pitchFamily="18" charset="0"/>
                <a:cs typeface="Times New Roman" panose="02020603050405020304" pitchFamily="18" charset="0"/>
              </a:rPr>
              <a:t> </a:t>
            </a:r>
            <a:r>
              <a:rPr lang="en-US" sz="3200" dirty="0" err="1">
                <a:solidFill>
                  <a:srgbClr val="0070C0"/>
                </a:solidFill>
                <a:latin typeface="Times New Roman" panose="02020603050405020304" pitchFamily="18" charset="0"/>
                <a:cs typeface="Times New Roman" panose="02020603050405020304" pitchFamily="18" charset="0"/>
              </a:rPr>
              <a:t>đơn</a:t>
            </a:r>
            <a:r>
              <a:rPr lang="en-US" sz="3200" dirty="0">
                <a:solidFill>
                  <a:srgbClr val="0070C0"/>
                </a:solidFill>
                <a:latin typeface="Times New Roman" panose="02020603050405020304" pitchFamily="18" charset="0"/>
                <a:cs typeface="Times New Roman" panose="02020603050405020304" pitchFamily="18" charset="0"/>
              </a:rPr>
              <a:t> </a:t>
            </a:r>
            <a:r>
              <a:rPr lang="en-US" sz="3200" dirty="0" err="1">
                <a:solidFill>
                  <a:srgbClr val="0070C0"/>
                </a:solidFill>
                <a:latin typeface="Times New Roman" panose="02020603050405020304" pitchFamily="18" charset="0"/>
                <a:cs typeface="Times New Roman" panose="02020603050405020304" pitchFamily="18" charset="0"/>
              </a:rPr>
              <a:t>giản</a:t>
            </a:r>
            <a:r>
              <a:rPr lang="en-US" sz="3200" dirty="0">
                <a:solidFill>
                  <a:srgbClr val="0070C0"/>
                </a:solidFill>
                <a:latin typeface="Times New Roman" panose="02020603050405020304" pitchFamily="18" charset="0"/>
                <a:cs typeface="Times New Roman" panose="02020603050405020304" pitchFamily="18" charset="0"/>
              </a:rPr>
              <a:t>, </a:t>
            </a:r>
            <a:r>
              <a:rPr lang="en-US" sz="3200" dirty="0" err="1">
                <a:solidFill>
                  <a:srgbClr val="0070C0"/>
                </a:solidFill>
                <a:latin typeface="Times New Roman" panose="02020603050405020304" pitchFamily="18" charset="0"/>
                <a:cs typeface="Times New Roman" panose="02020603050405020304" pitchFamily="18" charset="0"/>
              </a:rPr>
              <a:t>sơ</a:t>
            </a:r>
            <a:r>
              <a:rPr lang="en-US" sz="3200" dirty="0">
                <a:solidFill>
                  <a:srgbClr val="0070C0"/>
                </a:solidFill>
                <a:latin typeface="Times New Roman" panose="02020603050405020304" pitchFamily="18" charset="0"/>
                <a:cs typeface="Times New Roman" panose="02020603050405020304" pitchFamily="18" charset="0"/>
              </a:rPr>
              <a:t> </a:t>
            </a:r>
            <a:r>
              <a:rPr lang="en-US" sz="3200" dirty="0" err="1">
                <a:solidFill>
                  <a:srgbClr val="0070C0"/>
                </a:solidFill>
                <a:latin typeface="Times New Roman" panose="02020603050405020304" pitchFamily="18" charset="0"/>
                <a:cs typeface="Times New Roman" panose="02020603050405020304" pitchFamily="18" charset="0"/>
              </a:rPr>
              <a:t>khai</a:t>
            </a:r>
            <a:endParaRPr lang="en-US" sz="3200" dirty="0">
              <a:solidFill>
                <a:srgbClr val="0070C0"/>
              </a:solidFill>
              <a:latin typeface="Times New Roman" panose="02020603050405020304" pitchFamily="18" charset="0"/>
              <a:cs typeface="Times New Roman" panose="02020603050405020304" pitchFamily="18" charset="0"/>
            </a:endParaRPr>
          </a:p>
          <a:p>
            <a:pPr algn="ctr"/>
            <a:endParaRPr lang="en-US" sz="3200" dirty="0">
              <a:solidFill>
                <a:srgbClr val="0070C0"/>
              </a:solidFill>
              <a:latin typeface="Times New Roman" panose="02020603050405020304" pitchFamily="18" charset="0"/>
              <a:cs typeface="Times New Roman" panose="02020603050405020304" pitchFamily="18" charset="0"/>
            </a:endParaRPr>
          </a:p>
        </p:txBody>
      </p:sp>
      <p:sp>
        <p:nvSpPr>
          <p:cNvPr id="13" name="TextBox 12"/>
          <p:cNvSpPr txBox="1"/>
          <p:nvPr/>
        </p:nvSpPr>
        <p:spPr>
          <a:xfrm>
            <a:off x="15544800" y="5067300"/>
            <a:ext cx="1480185" cy="3608070"/>
          </a:xfrm>
          <a:prstGeom prst="rect">
            <a:avLst/>
          </a:prstGeom>
          <a:solidFill>
            <a:schemeClr val="bg1"/>
          </a:solidFill>
        </p:spPr>
        <p:txBody>
          <a:bodyPr wrap="square" rtlCol="0">
            <a:noAutofit/>
          </a:bodyPr>
          <a:lstStyle/>
          <a:p>
            <a:pPr algn="ctr"/>
            <a:r>
              <a:rPr lang="en-US" sz="3600" dirty="0" err="1">
                <a:solidFill>
                  <a:srgbClr val="0070C0"/>
                </a:solidFill>
                <a:latin typeface="Times New Roman" panose="02020603050405020304" pitchFamily="18" charset="0"/>
                <a:cs typeface="Times New Roman" panose="02020603050405020304" pitchFamily="18" charset="0"/>
              </a:rPr>
              <a:t>Mở</a:t>
            </a:r>
            <a:r>
              <a:rPr lang="en-US" sz="3600" dirty="0">
                <a:solidFill>
                  <a:srgbClr val="0070C0"/>
                </a:solidFill>
                <a:latin typeface="Times New Roman" panose="02020603050405020304" pitchFamily="18" charset="0"/>
                <a:cs typeface="Times New Roman" panose="02020603050405020304" pitchFamily="18" charset="0"/>
              </a:rPr>
              <a:t> ra </a:t>
            </a:r>
            <a:r>
              <a:rPr lang="en-US" sz="3600" dirty="0" err="1">
                <a:solidFill>
                  <a:srgbClr val="0070C0"/>
                </a:solidFill>
                <a:latin typeface="Times New Roman" panose="02020603050405020304" pitchFamily="18" charset="0"/>
                <a:cs typeface="Times New Roman" panose="02020603050405020304" pitchFamily="18" charset="0"/>
              </a:rPr>
              <a:t>thời</a:t>
            </a:r>
            <a:r>
              <a:rPr lang="en-US" sz="3600" dirty="0">
                <a:solidFill>
                  <a:srgbClr val="0070C0"/>
                </a:solidFill>
                <a:latin typeface="Times New Roman" panose="02020603050405020304" pitchFamily="18" charset="0"/>
                <a:cs typeface="Times New Roman" panose="02020603050405020304" pitchFamily="18" charset="0"/>
              </a:rPr>
              <a:t> </a:t>
            </a:r>
            <a:r>
              <a:rPr lang="en-US" sz="3600" dirty="0" err="1">
                <a:solidFill>
                  <a:srgbClr val="0070C0"/>
                </a:solidFill>
                <a:latin typeface="Times New Roman" panose="02020603050405020304" pitchFamily="18" charset="0"/>
                <a:cs typeface="Times New Roman" panose="02020603050405020304" pitchFamily="18" charset="0"/>
              </a:rPr>
              <a:t>kì</a:t>
            </a:r>
            <a:r>
              <a:rPr lang="en-US" sz="3600" dirty="0">
                <a:solidFill>
                  <a:srgbClr val="0070C0"/>
                </a:solidFill>
                <a:latin typeface="Times New Roman" panose="02020603050405020304" pitchFamily="18" charset="0"/>
                <a:cs typeface="Times New Roman" panose="02020603050405020304" pitchFamily="18" charset="0"/>
              </a:rPr>
              <a:t> </a:t>
            </a:r>
            <a:r>
              <a:rPr lang="en-US" sz="3600" dirty="0" err="1">
                <a:solidFill>
                  <a:srgbClr val="0070C0"/>
                </a:solidFill>
                <a:latin typeface="Times New Roman" panose="02020603050405020304" pitchFamily="18" charset="0"/>
                <a:cs typeface="Times New Roman" panose="02020603050405020304" pitchFamily="18" charset="0"/>
              </a:rPr>
              <a:t>dựng</a:t>
            </a:r>
            <a:r>
              <a:rPr lang="en-US" sz="3600" dirty="0">
                <a:solidFill>
                  <a:srgbClr val="0070C0"/>
                </a:solidFill>
                <a:latin typeface="Times New Roman" panose="02020603050405020304" pitchFamily="18" charset="0"/>
                <a:cs typeface="Times New Roman" panose="02020603050405020304" pitchFamily="18" charset="0"/>
              </a:rPr>
              <a:t> </a:t>
            </a:r>
            <a:r>
              <a:rPr lang="en-US" sz="3600" dirty="0" err="1">
                <a:solidFill>
                  <a:srgbClr val="0070C0"/>
                </a:solidFill>
                <a:latin typeface="Times New Roman" panose="02020603050405020304" pitchFamily="18" charset="0"/>
                <a:cs typeface="Times New Roman" panose="02020603050405020304" pitchFamily="18" charset="0"/>
              </a:rPr>
              <a:t>nước</a:t>
            </a:r>
            <a:r>
              <a:rPr lang="en-US" sz="3600" dirty="0">
                <a:solidFill>
                  <a:srgbClr val="0070C0"/>
                </a:solidFill>
                <a:latin typeface="Times New Roman" panose="02020603050405020304" pitchFamily="18" charset="0"/>
                <a:cs typeface="Times New Roman" panose="02020603050405020304" pitchFamily="18" charset="0"/>
              </a:rPr>
              <a:t> </a:t>
            </a:r>
            <a:r>
              <a:rPr lang="en-US" sz="3600" dirty="0" err="1">
                <a:solidFill>
                  <a:srgbClr val="0070C0"/>
                </a:solidFill>
                <a:latin typeface="Times New Roman" panose="02020603050405020304" pitchFamily="18" charset="0"/>
                <a:cs typeface="Times New Roman" panose="02020603050405020304" pitchFamily="18" charset="0"/>
              </a:rPr>
              <a:t>đầu</a:t>
            </a:r>
            <a:r>
              <a:rPr lang="en-US" sz="3600" dirty="0">
                <a:solidFill>
                  <a:srgbClr val="0070C0"/>
                </a:solidFill>
                <a:latin typeface="Times New Roman" panose="02020603050405020304" pitchFamily="18" charset="0"/>
                <a:cs typeface="Times New Roman" panose="02020603050405020304" pitchFamily="18" charset="0"/>
              </a:rPr>
              <a:t> </a:t>
            </a:r>
            <a:r>
              <a:rPr lang="en-US" sz="3600" dirty="0" err="1">
                <a:solidFill>
                  <a:srgbClr val="0070C0"/>
                </a:solidFill>
                <a:latin typeface="Times New Roman" panose="02020603050405020304" pitchFamily="18" charset="0"/>
                <a:cs typeface="Times New Roman" panose="02020603050405020304" pitchFamily="18" charset="0"/>
              </a:rPr>
              <a:t>tiên</a:t>
            </a:r>
            <a:r>
              <a:rPr lang="en-US" sz="3600" dirty="0">
                <a:solidFill>
                  <a:srgbClr val="0070C0"/>
                </a:solidFill>
                <a:latin typeface="Times New Roman" panose="02020603050405020304" pitchFamily="18" charset="0"/>
                <a:cs typeface="Times New Roman" panose="02020603050405020304" pitchFamily="18" charset="0"/>
              </a:rPr>
              <a:t> </a:t>
            </a:r>
            <a:endParaRPr lang="en-US" sz="3600" dirty="0">
              <a:solidFill>
                <a:srgbClr val="0070C0"/>
              </a:solidFill>
              <a:latin typeface="Times New Roman" panose="02020603050405020304" pitchFamily="18" charset="0"/>
              <a:cs typeface="Times New Roman" panose="02020603050405020304" pitchFamily="18" charset="0"/>
            </a:endParaRPr>
          </a:p>
          <a:p>
            <a:pPr algn="ctr"/>
            <a:endParaRPr lang="en-US" sz="3600" dirty="0">
              <a:solidFill>
                <a:srgbClr val="0070C0"/>
              </a:solidFill>
              <a:latin typeface="Times New Roman" panose="02020603050405020304" pitchFamily="18" charset="0"/>
              <a:cs typeface="Times New Roman" panose="02020603050405020304" pitchFamily="18" charset="0"/>
            </a:endParaRPr>
          </a:p>
          <a:p>
            <a:pPr algn="ctr"/>
            <a:endParaRPr lang="en-US" sz="3600" dirty="0">
              <a:solidFill>
                <a:srgbClr val="0070C0"/>
              </a:solidFill>
              <a:latin typeface="Times New Roman" panose="02020603050405020304" pitchFamily="18" charset="0"/>
              <a:cs typeface="Times New Roman" panose="02020603050405020304" pitchFamily="18" charset="0"/>
            </a:endParaRPr>
          </a:p>
        </p:txBody>
      </p:sp>
      <p:sp>
        <p:nvSpPr>
          <p:cNvPr id="14" name="Rectangle 13"/>
          <p:cNvSpPr/>
          <p:nvPr/>
        </p:nvSpPr>
        <p:spPr>
          <a:xfrm>
            <a:off x="791845" y="224155"/>
            <a:ext cx="17323435" cy="967740"/>
          </a:xfrm>
          <a:prstGeom prst="rect">
            <a:avLst/>
          </a:prstGeom>
          <a:noFill/>
        </p:spPr>
        <p:txBody>
          <a:bodyPr wrap="square" lIns="137160" tIns="68580" rIns="137160" bIns="68580">
            <a:spAutoFit/>
          </a:bodyPr>
          <a:lstStyle/>
          <a:p>
            <a:pPr algn="ctr"/>
            <a:r>
              <a:rPr lang="en-US" sz="5400" b="0" cap="none" spc="0" dirty="0">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rPr>
              <a:t>Theo </a:t>
            </a:r>
            <a:r>
              <a:rPr lang="en-US" sz="5400" b="0" cap="none" spc="0" dirty="0" err="1">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rPr>
              <a:t>dõi</a:t>
            </a:r>
            <a:r>
              <a:rPr lang="en-US" sz="5400" b="0" cap="none" spc="0" dirty="0">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rPr>
              <a:t> video </a:t>
            </a:r>
            <a:r>
              <a:rPr lang="en-US" sz="5400" b="0" cap="none" spc="0" dirty="0" err="1">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rPr>
              <a:t>kết</a:t>
            </a:r>
            <a:r>
              <a:rPr lang="en-US" sz="5400" b="0" cap="none" spc="0" dirty="0">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rPr>
              <a:t> </a:t>
            </a:r>
            <a:r>
              <a:rPr lang="en-US" sz="5400" b="0" cap="none" spc="0" dirty="0" err="1">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rPr>
              <a:t>hợp</a:t>
            </a:r>
            <a:r>
              <a:rPr lang="en-US" sz="5400" b="0" cap="none" spc="0" dirty="0">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rPr>
              <a:t> </a:t>
            </a:r>
            <a:r>
              <a:rPr lang="en-US" sz="5400" b="0" cap="none" spc="0" dirty="0" err="1">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rPr>
              <a:t>đọc</a:t>
            </a:r>
            <a:r>
              <a:rPr lang="en-US" sz="5400" b="0" cap="none" spc="0" dirty="0">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rPr>
              <a:t> SGK </a:t>
            </a:r>
            <a:r>
              <a:rPr lang="en-US" sz="5400" b="0" cap="none" spc="0" dirty="0" err="1">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rPr>
              <a:t>để</a:t>
            </a:r>
            <a:r>
              <a:rPr lang="en-US" sz="5400" b="0" cap="none" spc="0" dirty="0">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rPr>
              <a:t> </a:t>
            </a:r>
            <a:r>
              <a:rPr lang="en-US" sz="5400" b="0" cap="none" spc="0" dirty="0" err="1">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rPr>
              <a:t>trả</a:t>
            </a:r>
            <a:r>
              <a:rPr lang="en-US" sz="5400" b="0" cap="none" spc="0" dirty="0">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rPr>
              <a:t> </a:t>
            </a:r>
            <a:r>
              <a:rPr lang="en-US" sz="5400" b="0" cap="none" spc="0" dirty="0" err="1">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rPr>
              <a:t>lời</a:t>
            </a:r>
            <a:r>
              <a:rPr lang="en-US" sz="5400" b="0" cap="none" spc="0" dirty="0">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rPr>
              <a:t> </a:t>
            </a:r>
            <a:r>
              <a:rPr lang="en-US" sz="5400" b="0" cap="none" spc="0" dirty="0" err="1">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rPr>
              <a:t>các</a:t>
            </a:r>
            <a:r>
              <a:rPr lang="en-US" sz="5400" b="0" cap="none" spc="0" dirty="0">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rPr>
              <a:t> </a:t>
            </a:r>
            <a:r>
              <a:rPr lang="en-US" sz="5400" b="0" cap="none" spc="0" dirty="0" err="1">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rPr>
              <a:t>câu</a:t>
            </a:r>
            <a:r>
              <a:rPr lang="en-US" sz="5400" b="0" cap="none" spc="0" dirty="0">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rPr>
              <a:t> </a:t>
            </a:r>
            <a:r>
              <a:rPr lang="en-US" sz="5400" b="0" cap="none" spc="0" dirty="0" err="1">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rPr>
              <a:t>hỏi</a:t>
            </a:r>
            <a:r>
              <a:rPr lang="en-US" sz="5400" b="0" cap="none" spc="0" dirty="0">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rPr>
              <a:t> </a:t>
            </a:r>
            <a:r>
              <a:rPr lang="en-US" sz="5400" b="0" cap="none" spc="0" dirty="0" err="1">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rPr>
              <a:t>sau</a:t>
            </a:r>
            <a:r>
              <a:rPr lang="en-US" sz="5400" b="0" cap="none" spc="0" dirty="0">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rPr>
              <a:t>:</a:t>
            </a:r>
            <a:endParaRPr lang="en-US" sz="5400" b="0" cap="none" spc="0" dirty="0">
              <a:ln w="0"/>
              <a:solidFill>
                <a:schemeClr val="tx1"/>
              </a:solidFill>
              <a:effectLst>
                <a:reflection blurRad="6350" stA="53000" endA="300" endPos="35500" dir="5400000" sy="-90000" algn="bl" rotWithShape="0"/>
              </a:effectLst>
              <a:latin typeface="Times New Roman" panose="02020603050405020304" pitchFamily="18" charset="0"/>
              <a:cs typeface="Times New Roman" panose="02020603050405020304" pitchFamily="18" charset="0"/>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xit" presetSubtype="32" fill="hold" nodeType="clickEffect">
                                  <p:stCondLst>
                                    <p:cond delay="0"/>
                                  </p:stCondLst>
                                  <p:childTnLst>
                                    <p:animEffect transition="out" filter="box(out)">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2" presetClass="entr" presetSubtype="2"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500" fill="hold"/>
                                        <p:tgtEl>
                                          <p:spTgt spid="7"/>
                                        </p:tgtEl>
                                        <p:attrNameLst>
                                          <p:attrName>ppt_x</p:attrName>
                                        </p:attrNameLst>
                                      </p:cBhvr>
                                      <p:tavLst>
                                        <p:tav tm="0">
                                          <p:val>
                                            <p:strVal val="1+#ppt_w/2"/>
                                          </p:val>
                                        </p:tav>
                                        <p:tav tm="100000">
                                          <p:val>
                                            <p:strVal val="#ppt_x"/>
                                          </p:val>
                                        </p:tav>
                                      </p:tavLst>
                                    </p:anim>
                                    <p:anim calcmode="lin" valueType="num">
                                      <p:cBhvr additive="base">
                                        <p:cTn id="13"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2" fill="hold" grpId="0" nodeType="clickEffect">
                                  <p:stCondLst>
                                    <p:cond delay="0"/>
                                  </p:stCondLst>
                                  <p:childTnLst>
                                    <p:set>
                                      <p:cBhvr>
                                        <p:cTn id="17" dur="1" fill="hold">
                                          <p:stCondLst>
                                            <p:cond delay="0"/>
                                          </p:stCondLst>
                                        </p:cTn>
                                        <p:tgtEl>
                                          <p:spTgt spid="8"/>
                                        </p:tgtEl>
                                        <p:attrNameLst>
                                          <p:attrName>style.visibility</p:attrName>
                                        </p:attrNameLst>
                                      </p:cBhvr>
                                      <p:to>
                                        <p:strVal val="visible"/>
                                      </p:to>
                                    </p:set>
                                    <p:anim calcmode="lin" valueType="num">
                                      <p:cBhvr additive="base">
                                        <p:cTn id="18" dur="500" fill="hold"/>
                                        <p:tgtEl>
                                          <p:spTgt spid="8"/>
                                        </p:tgtEl>
                                        <p:attrNameLst>
                                          <p:attrName>ppt_x</p:attrName>
                                        </p:attrNameLst>
                                      </p:cBhvr>
                                      <p:tavLst>
                                        <p:tav tm="0">
                                          <p:val>
                                            <p:strVal val="1+#ppt_w/2"/>
                                          </p:val>
                                        </p:tav>
                                        <p:tav tm="100000">
                                          <p:val>
                                            <p:strVal val="#ppt_x"/>
                                          </p:val>
                                        </p:tav>
                                      </p:tavLst>
                                    </p:anim>
                                    <p:anim calcmode="lin" valueType="num">
                                      <p:cBhvr additive="base">
                                        <p:cTn id="19"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2" fill="hold" grpId="0" nodeType="clickEffect">
                                  <p:stCondLst>
                                    <p:cond delay="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500" fill="hold"/>
                                        <p:tgtEl>
                                          <p:spTgt spid="10"/>
                                        </p:tgtEl>
                                        <p:attrNameLst>
                                          <p:attrName>ppt_x</p:attrName>
                                        </p:attrNameLst>
                                      </p:cBhvr>
                                      <p:tavLst>
                                        <p:tav tm="0">
                                          <p:val>
                                            <p:strVal val="1+#ppt_w/2"/>
                                          </p:val>
                                        </p:tav>
                                        <p:tav tm="100000">
                                          <p:val>
                                            <p:strVal val="#ppt_x"/>
                                          </p:val>
                                        </p:tav>
                                      </p:tavLst>
                                    </p:anim>
                                    <p:anim calcmode="lin" valueType="num">
                                      <p:cBhvr additive="base">
                                        <p:cTn id="25"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2" fill="hold" grpId="0" nodeType="clickEffect">
                                  <p:stCondLst>
                                    <p:cond delay="0"/>
                                  </p:stCondLst>
                                  <p:childTnLst>
                                    <p:set>
                                      <p:cBhvr>
                                        <p:cTn id="29" dur="1" fill="hold">
                                          <p:stCondLst>
                                            <p:cond delay="0"/>
                                          </p:stCondLst>
                                        </p:cTn>
                                        <p:tgtEl>
                                          <p:spTgt spid="11"/>
                                        </p:tgtEl>
                                        <p:attrNameLst>
                                          <p:attrName>style.visibility</p:attrName>
                                        </p:attrNameLst>
                                      </p:cBhvr>
                                      <p:to>
                                        <p:strVal val="visible"/>
                                      </p:to>
                                    </p:set>
                                    <p:anim calcmode="lin" valueType="num">
                                      <p:cBhvr additive="base">
                                        <p:cTn id="30" dur="500" fill="hold"/>
                                        <p:tgtEl>
                                          <p:spTgt spid="11"/>
                                        </p:tgtEl>
                                        <p:attrNameLst>
                                          <p:attrName>ppt_x</p:attrName>
                                        </p:attrNameLst>
                                      </p:cBhvr>
                                      <p:tavLst>
                                        <p:tav tm="0">
                                          <p:val>
                                            <p:strVal val="1+#ppt_w/2"/>
                                          </p:val>
                                        </p:tav>
                                        <p:tav tm="100000">
                                          <p:val>
                                            <p:strVal val="#ppt_x"/>
                                          </p:val>
                                        </p:tav>
                                      </p:tavLst>
                                    </p:anim>
                                    <p:anim calcmode="lin" valueType="num">
                                      <p:cBhvr additive="base">
                                        <p:cTn id="31"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2" presetClass="entr" presetSubtype="2" fill="hold" grpId="0" nodeType="clickEffect">
                                  <p:stCondLst>
                                    <p:cond delay="0"/>
                                  </p:stCondLst>
                                  <p:childTnLst>
                                    <p:set>
                                      <p:cBhvr>
                                        <p:cTn id="35" dur="1" fill="hold">
                                          <p:stCondLst>
                                            <p:cond delay="0"/>
                                          </p:stCondLst>
                                        </p:cTn>
                                        <p:tgtEl>
                                          <p:spTgt spid="12"/>
                                        </p:tgtEl>
                                        <p:attrNameLst>
                                          <p:attrName>style.visibility</p:attrName>
                                        </p:attrNameLst>
                                      </p:cBhvr>
                                      <p:to>
                                        <p:strVal val="visible"/>
                                      </p:to>
                                    </p:set>
                                    <p:anim calcmode="lin" valueType="num">
                                      <p:cBhvr additive="base">
                                        <p:cTn id="36" dur="500" fill="hold"/>
                                        <p:tgtEl>
                                          <p:spTgt spid="12"/>
                                        </p:tgtEl>
                                        <p:attrNameLst>
                                          <p:attrName>ppt_x</p:attrName>
                                        </p:attrNameLst>
                                      </p:cBhvr>
                                      <p:tavLst>
                                        <p:tav tm="0">
                                          <p:val>
                                            <p:strVal val="1+#ppt_w/2"/>
                                          </p:val>
                                        </p:tav>
                                        <p:tav tm="100000">
                                          <p:val>
                                            <p:strVal val="#ppt_x"/>
                                          </p:val>
                                        </p:tav>
                                      </p:tavLst>
                                    </p:anim>
                                    <p:anim calcmode="lin" valueType="num">
                                      <p:cBhvr additive="base">
                                        <p:cTn id="37"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2" presetClass="entr" presetSubtype="2"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 calcmode="lin" valueType="num">
                                      <p:cBhvr additive="base">
                                        <p:cTn id="42" dur="500" fill="hold"/>
                                        <p:tgtEl>
                                          <p:spTgt spid="13"/>
                                        </p:tgtEl>
                                        <p:attrNameLst>
                                          <p:attrName>ppt_x</p:attrName>
                                        </p:attrNameLst>
                                      </p:cBhvr>
                                      <p:tavLst>
                                        <p:tav tm="0">
                                          <p:val>
                                            <p:strVal val="1+#ppt_w/2"/>
                                          </p:val>
                                        </p:tav>
                                        <p:tav tm="100000">
                                          <p:val>
                                            <p:strVal val="#ppt_x"/>
                                          </p:val>
                                        </p:tav>
                                      </p:tavLst>
                                    </p:anim>
                                    <p:anim calcmode="lin" valueType="num">
                                      <p:cBhvr additive="base">
                                        <p:cTn id="43"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44" fill="hold" display="0">
                  <p:stCondLst>
                    <p:cond delay="indefinite"/>
                  </p:stCondLst>
                </p:cTn>
                <p:tgtEl>
                  <p:spTgt spid="6"/>
                </p:tgtEl>
              </p:cMediaNode>
            </p:video>
          </p:childTnLst>
        </p:cTn>
      </p:par>
    </p:tnLst>
    <p:bldLst>
      <p:bldP spid="7" grpId="0" bldLvl="0" animBg="1"/>
      <p:bldP spid="8" grpId="0" bldLvl="0" animBg="1"/>
      <p:bldP spid="10" grpId="0" bldLvl="0" animBg="1"/>
      <p:bldP spid="11" grpId="0" bldLvl="0" animBg="1"/>
      <p:bldP spid="12" grpId="0" bldLvl="0" animBg="1"/>
      <p:bldP spid="13" grpId="0" bldLvl="0"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3CB63"/>
        </a:solidFill>
        <a:effectLst/>
      </p:bgPr>
    </p:bg>
    <p:spTree>
      <p:nvGrpSpPr>
        <p:cNvPr id="1" name=""/>
        <p:cNvGrpSpPr/>
        <p:nvPr/>
      </p:nvGrpSpPr>
      <p:grpSpPr>
        <a:xfrm>
          <a:off x="0" y="0"/>
          <a:ext cx="0" cy="0"/>
          <a:chOff x="0" y="0"/>
          <a:chExt cx="0" cy="0"/>
        </a:xfrm>
      </p:grpSpPr>
      <p:sp>
        <p:nvSpPr>
          <p:cNvPr id="18" name="Rectangle 17"/>
          <p:cNvSpPr/>
          <p:nvPr/>
        </p:nvSpPr>
        <p:spPr>
          <a:xfrm>
            <a:off x="769257" y="9410700"/>
            <a:ext cx="7993743" cy="707886"/>
          </a:xfrm>
          <a:prstGeom prst="rect">
            <a:avLst/>
          </a:prstGeom>
        </p:spPr>
        <p:txBody>
          <a:bodyPr wrap="square">
            <a:spAutoFit/>
          </a:bodyPr>
          <a:lstStyle/>
          <a:p>
            <a:pPr algn="ctr"/>
            <a:r>
              <a:rPr lang="en-US" sz="4000" b="1" dirty="0" smtClean="0">
                <a:solidFill>
                  <a:schemeClr val="accent5">
                    <a:lumMod val="50000"/>
                  </a:schemeClr>
                </a:solidFill>
                <a:latin typeface="Arial" panose="020B0604020202020204" pitchFamily="34" charset="0"/>
                <a:cs typeface="Arial" panose="020B0604020202020204" pitchFamily="34" charset="0"/>
              </a:rPr>
              <a:t>Hùng Vương</a:t>
            </a:r>
            <a:endParaRPr lang="en-US" sz="4000" b="1" dirty="0"/>
          </a:p>
        </p:txBody>
      </p:sp>
      <p:sp>
        <p:nvSpPr>
          <p:cNvPr id="19" name="Rectangle 18"/>
          <p:cNvSpPr/>
          <p:nvPr/>
        </p:nvSpPr>
        <p:spPr>
          <a:xfrm>
            <a:off x="9109532" y="9410700"/>
            <a:ext cx="8423726" cy="707886"/>
          </a:xfrm>
          <a:prstGeom prst="rect">
            <a:avLst/>
          </a:prstGeom>
        </p:spPr>
        <p:txBody>
          <a:bodyPr wrap="square">
            <a:spAutoFit/>
          </a:bodyPr>
          <a:lstStyle/>
          <a:p>
            <a:pPr algn="ctr"/>
            <a:r>
              <a:rPr lang="en-US" sz="4000" b="1" dirty="0" smtClean="0">
                <a:solidFill>
                  <a:schemeClr val="accent5">
                    <a:lumMod val="50000"/>
                  </a:schemeClr>
                </a:solidFill>
                <a:latin typeface="Arial" panose="020B0604020202020204" pitchFamily="34" charset="0"/>
                <a:cs typeface="Arial" panose="020B0604020202020204" pitchFamily="34" charset="0"/>
              </a:rPr>
              <a:t>Việt Trì – kinh đô Văn Lang xưa</a:t>
            </a:r>
            <a:endParaRPr lang="en-US" sz="4000" b="1" dirty="0"/>
          </a:p>
        </p:txBody>
      </p:sp>
      <p:pic>
        <p:nvPicPr>
          <p:cNvPr id="20" name="Picture 2" descr="Năm 2012, Tín ngưỡng thờ cúng Hùng Vương ở Phú Thọ đã chính thức được  UNESCO công nhận là di sản văn hóa phi vật thể đại diện của nhân loại. Để"/>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769257" y="580775"/>
            <a:ext cx="8153401" cy="8575534"/>
          </a:xfrm>
          <a:prstGeom prst="rect">
            <a:avLst/>
          </a:prstGeom>
          <a:solidFill>
            <a:srgbClr val="FFFFFF">
              <a:shade val="85000"/>
            </a:srgbClr>
          </a:solidFill>
          <a:ln w="889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1" name="Picture 20"/>
          <p:cNvPicPr>
            <a:picLocks noChangeAspect="1"/>
          </p:cNvPicPr>
          <p:nvPr/>
        </p:nvPicPr>
        <p:blipFill>
          <a:blip r:embed="rId2"/>
          <a:stretch>
            <a:fillRect/>
          </a:stretch>
        </p:blipFill>
        <p:spPr>
          <a:xfrm>
            <a:off x="9109532" y="580775"/>
            <a:ext cx="8423726" cy="8575534"/>
          </a:xfrm>
          <a:prstGeom prst="rect">
            <a:avLst/>
          </a:prstGeom>
          <a:solidFill>
            <a:srgbClr val="FFFFFF">
              <a:shade val="85000"/>
            </a:srgbClr>
          </a:solidFill>
          <a:ln w="889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barn(inVertical)">
                                      <p:cBhvr>
                                        <p:cTn id="7" dur="500"/>
                                        <p:tgtEl>
                                          <p:spTgt spid="20"/>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barn(inVertical)">
                                      <p:cBhvr>
                                        <p:cTn id="10" dur="500"/>
                                        <p:tgtEl>
                                          <p:spTgt spid="18"/>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wipe(down)">
                                      <p:cBhvr>
                                        <p:cTn id="15" dur="500"/>
                                        <p:tgtEl>
                                          <p:spTgt spid="21"/>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wipe(down)">
                                      <p:cBhvr>
                                        <p:cTn id="18"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AF1D9"/>
        </a:solidFill>
        <a:effectLst/>
      </p:bgPr>
    </p:bg>
    <p:spTree>
      <p:nvGrpSpPr>
        <p:cNvPr id="1" name=""/>
        <p:cNvGrpSpPr/>
        <p:nvPr/>
      </p:nvGrpSpPr>
      <p:grpSpPr>
        <a:xfrm>
          <a:off x="0" y="0"/>
          <a:ext cx="0" cy="0"/>
          <a:chOff x="0" y="0"/>
          <a:chExt cx="0" cy="0"/>
        </a:xfrm>
      </p:grpSpPr>
      <p:sp>
        <p:nvSpPr>
          <p:cNvPr id="2" name="AutoShape 2"/>
          <p:cNvSpPr/>
          <p:nvPr/>
        </p:nvSpPr>
        <p:spPr>
          <a:xfrm>
            <a:off x="0" y="0"/>
            <a:ext cx="18288000" cy="3390900"/>
          </a:xfrm>
          <a:prstGeom prst="rect">
            <a:avLst/>
          </a:prstGeom>
          <a:solidFill>
            <a:srgbClr val="F3AF05"/>
          </a:solidFill>
        </p:spPr>
      </p:sp>
      <p:sp>
        <p:nvSpPr>
          <p:cNvPr id="20" name="TextBox 20"/>
          <p:cNvSpPr txBox="1"/>
          <p:nvPr/>
        </p:nvSpPr>
        <p:spPr>
          <a:xfrm>
            <a:off x="0" y="1360622"/>
            <a:ext cx="18288000" cy="1112741"/>
          </a:xfrm>
          <a:prstGeom prst="rect">
            <a:avLst/>
          </a:prstGeom>
        </p:spPr>
        <p:txBody>
          <a:bodyPr wrap="square" lIns="0" tIns="0" rIns="0" bIns="0" rtlCol="0" anchor="t">
            <a:spAutoFit/>
          </a:bodyPr>
          <a:lstStyle/>
          <a:p>
            <a:pPr marL="0" lvl="0" indent="0" algn="ctr">
              <a:lnSpc>
                <a:spcPts val="9900"/>
              </a:lnSpc>
            </a:pPr>
            <a:r>
              <a:rPr lang="en-US" sz="5500" b="1" dirty="0" smtClean="0">
                <a:solidFill>
                  <a:srgbClr val="5F3329"/>
                </a:solidFill>
                <a:latin typeface="Arial" panose="020B0604020202020204" pitchFamily="34" charset="0"/>
                <a:cs typeface="Arial" panose="020B0604020202020204" pitchFamily="34" charset="0"/>
              </a:rPr>
              <a:t>Thảo luận và trả lời câu hỏi</a:t>
            </a:r>
            <a:endParaRPr lang="en-US" sz="5500" b="1" dirty="0">
              <a:solidFill>
                <a:srgbClr val="5F3329"/>
              </a:solidFill>
              <a:latin typeface="Arial" panose="020B0604020202020204" pitchFamily="34" charset="0"/>
              <a:cs typeface="Arial" panose="020B0604020202020204" pitchFamily="34" charset="0"/>
            </a:endParaRPr>
          </a:p>
        </p:txBody>
      </p:sp>
      <p:pic>
        <p:nvPicPr>
          <p:cNvPr id="7" name="Picture 3"/>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rot="5400000">
            <a:off x="1394638" y="3869297"/>
            <a:ext cx="1144029" cy="1567164"/>
          </a:xfrm>
          <a:prstGeom prst="rect">
            <a:avLst/>
          </a:prstGeom>
        </p:spPr>
      </p:pic>
      <p:grpSp>
        <p:nvGrpSpPr>
          <p:cNvPr id="8" name="Group 4"/>
          <p:cNvGrpSpPr/>
          <p:nvPr/>
        </p:nvGrpSpPr>
        <p:grpSpPr>
          <a:xfrm>
            <a:off x="2310920" y="3363972"/>
            <a:ext cx="1895468" cy="2063816"/>
            <a:chOff x="1371724" y="0"/>
            <a:chExt cx="2527291" cy="2751754"/>
          </a:xfrm>
        </p:grpSpPr>
        <p:pic>
          <p:nvPicPr>
            <p:cNvPr id="9" name="Picture 7"/>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rot="-10800000">
              <a:off x="1371724" y="0"/>
              <a:ext cx="2527291" cy="2751754"/>
            </a:xfrm>
            <a:prstGeom prst="rect">
              <a:avLst/>
            </a:prstGeom>
          </p:spPr>
        </p:pic>
        <p:sp>
          <p:nvSpPr>
            <p:cNvPr id="10" name="TextBox 8"/>
            <p:cNvSpPr txBox="1"/>
            <p:nvPr/>
          </p:nvSpPr>
          <p:spPr>
            <a:xfrm>
              <a:off x="1854679" y="787968"/>
              <a:ext cx="1187570" cy="1156768"/>
            </a:xfrm>
            <a:prstGeom prst="rect">
              <a:avLst/>
            </a:prstGeom>
          </p:spPr>
          <p:txBody>
            <a:bodyPr lIns="0" tIns="0" rIns="0" bIns="0" rtlCol="0" anchor="t">
              <a:spAutoFit/>
            </a:bodyPr>
            <a:lstStyle/>
            <a:p>
              <a:pPr marL="0" lvl="0" indent="0" algn="ctr">
                <a:lnSpc>
                  <a:spcPts val="6600"/>
                </a:lnSpc>
              </a:pPr>
              <a:r>
                <a:rPr lang="en-US" sz="6000" dirty="0">
                  <a:solidFill>
                    <a:srgbClr val="FAF1D9"/>
                  </a:solidFill>
                  <a:latin typeface="Bryndan Write" panose="02000503000000000000"/>
                </a:rPr>
                <a:t>1</a:t>
              </a:r>
              <a:endParaRPr lang="en-US" sz="6000" dirty="0">
                <a:solidFill>
                  <a:srgbClr val="FAF1D9"/>
                </a:solidFill>
                <a:latin typeface="Bryndan Write" panose="02000503000000000000"/>
              </a:endParaRPr>
            </a:p>
          </p:txBody>
        </p:sp>
      </p:grpSp>
      <p:pic>
        <p:nvPicPr>
          <p:cNvPr id="12" name="Picture 9"/>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rot="5400000">
            <a:off x="3491993" y="6141343"/>
            <a:ext cx="1144029" cy="1567164"/>
          </a:xfrm>
          <a:prstGeom prst="rect">
            <a:avLst/>
          </a:prstGeom>
        </p:spPr>
      </p:pic>
      <p:grpSp>
        <p:nvGrpSpPr>
          <p:cNvPr id="13" name="Group 10"/>
          <p:cNvGrpSpPr/>
          <p:nvPr/>
        </p:nvGrpSpPr>
        <p:grpSpPr>
          <a:xfrm>
            <a:off x="2310920" y="5726755"/>
            <a:ext cx="1895468" cy="2063815"/>
            <a:chOff x="1371724" y="0"/>
            <a:chExt cx="2527291" cy="2751754"/>
          </a:xfrm>
        </p:grpSpPr>
        <p:pic>
          <p:nvPicPr>
            <p:cNvPr id="14" name="Picture 13"/>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371724" y="0"/>
              <a:ext cx="2527291" cy="2751754"/>
            </a:xfrm>
            <a:prstGeom prst="rect">
              <a:avLst/>
            </a:prstGeom>
          </p:spPr>
        </p:pic>
        <p:sp>
          <p:nvSpPr>
            <p:cNvPr id="15" name="TextBox 14"/>
            <p:cNvSpPr txBox="1"/>
            <p:nvPr/>
          </p:nvSpPr>
          <p:spPr>
            <a:xfrm>
              <a:off x="1854679" y="787968"/>
              <a:ext cx="1187570" cy="1156768"/>
            </a:xfrm>
            <a:prstGeom prst="rect">
              <a:avLst/>
            </a:prstGeom>
          </p:spPr>
          <p:txBody>
            <a:bodyPr lIns="0" tIns="0" rIns="0" bIns="0" rtlCol="0" anchor="t">
              <a:spAutoFit/>
            </a:bodyPr>
            <a:lstStyle/>
            <a:p>
              <a:pPr marL="0" lvl="0" indent="0" algn="ctr">
                <a:lnSpc>
                  <a:spcPts val="6600"/>
                </a:lnSpc>
              </a:pPr>
              <a:r>
                <a:rPr lang="en-US" sz="6000" dirty="0">
                  <a:solidFill>
                    <a:srgbClr val="FAF1D9"/>
                  </a:solidFill>
                  <a:latin typeface="Bryndan Write" panose="02000503000000000000"/>
                </a:rPr>
                <a:t>2</a:t>
              </a:r>
              <a:endParaRPr lang="en-US" sz="6000" dirty="0">
                <a:solidFill>
                  <a:srgbClr val="FAF1D9"/>
                </a:solidFill>
                <a:latin typeface="Bryndan Write" panose="02000503000000000000"/>
              </a:endParaRPr>
            </a:p>
          </p:txBody>
        </p:sp>
      </p:grpSp>
      <p:sp>
        <p:nvSpPr>
          <p:cNvPr id="16" name="TextBox 2"/>
          <p:cNvSpPr txBox="1"/>
          <p:nvPr/>
        </p:nvSpPr>
        <p:spPr>
          <a:xfrm>
            <a:off x="5409935" y="3924273"/>
            <a:ext cx="12192000" cy="1098121"/>
          </a:xfrm>
          <a:prstGeom prst="rect">
            <a:avLst/>
          </a:prstGeom>
        </p:spPr>
        <p:txBody>
          <a:bodyPr wrap="square" lIns="0" tIns="0" rIns="0" bIns="0" rtlCol="0" anchor="t">
            <a:spAutoFit/>
          </a:bodyPr>
          <a:lstStyle/>
          <a:p>
            <a:pPr marL="0" lvl="0" indent="0" algn="just">
              <a:lnSpc>
                <a:spcPts val="9900"/>
              </a:lnSpc>
            </a:pPr>
            <a:r>
              <a:rPr lang="en-US" sz="5000" dirty="0" smtClean="0">
                <a:solidFill>
                  <a:srgbClr val="5F3329"/>
                </a:solidFill>
                <a:latin typeface="Arial" panose="020B0604020202020204" pitchFamily="34" charset="0"/>
                <a:cs typeface="Arial" panose="020B0604020202020204" pitchFamily="34" charset="0"/>
              </a:rPr>
              <a:t>Nhận xét về tổ chức nhà nước Văn Lang</a:t>
            </a:r>
            <a:endParaRPr lang="en-US" sz="5000" dirty="0">
              <a:solidFill>
                <a:srgbClr val="5F3329"/>
              </a:solidFill>
              <a:latin typeface="Arial" panose="020B0604020202020204" pitchFamily="34" charset="0"/>
              <a:cs typeface="Arial" panose="020B0604020202020204" pitchFamily="34" charset="0"/>
            </a:endParaRPr>
          </a:p>
        </p:txBody>
      </p:sp>
      <p:sp>
        <p:nvSpPr>
          <p:cNvPr id="25" name="TextBox 2"/>
          <p:cNvSpPr txBox="1"/>
          <p:nvPr/>
        </p:nvSpPr>
        <p:spPr>
          <a:xfrm>
            <a:off x="5410199" y="6557056"/>
            <a:ext cx="12496801" cy="897682"/>
          </a:xfrm>
          <a:prstGeom prst="rect">
            <a:avLst/>
          </a:prstGeom>
        </p:spPr>
        <p:txBody>
          <a:bodyPr wrap="square" lIns="0" tIns="0" rIns="0" bIns="0" rtlCol="0" anchor="t">
            <a:spAutoFit/>
          </a:bodyPr>
          <a:lstStyle/>
          <a:p>
            <a:pPr marL="0" lvl="0" indent="0" algn="just">
              <a:lnSpc>
                <a:spcPts val="7000"/>
              </a:lnSpc>
            </a:pPr>
            <a:r>
              <a:rPr lang="en-US" sz="5000" dirty="0" smtClean="0">
                <a:solidFill>
                  <a:srgbClr val="5F3329"/>
                </a:solidFill>
                <a:latin typeface="Arial" panose="020B0604020202020204" pitchFamily="34" charset="0"/>
                <a:cs typeface="Arial" panose="020B0604020202020204" pitchFamily="34" charset="0"/>
              </a:rPr>
              <a:t>Ý nghĩa của sự ra đời Nhà nước Văn Lang</a:t>
            </a:r>
            <a:endParaRPr lang="en-US" sz="5000" dirty="0">
              <a:solidFill>
                <a:srgbClr val="5F3329"/>
              </a:solidFill>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barn(inVertical)">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down)">
                                      <p:cBhvr>
                                        <p:cTn id="12" dur="500"/>
                                        <p:tgtEl>
                                          <p:spTgt spid="7"/>
                                        </p:tgtEl>
                                      </p:cBhvr>
                                    </p:animEffect>
                                  </p:childTnLst>
                                </p:cTn>
                              </p:par>
                              <p:par>
                                <p:cTn id="13" presetID="22" presetClass="entr" presetSubtype="4"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down)">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nodeType="click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wipe(down)">
                                      <p:cBhvr>
                                        <p:cTn id="20" dur="500"/>
                                        <p:tgtEl>
                                          <p:spTgt spid="13"/>
                                        </p:tgtEl>
                                      </p:cBhvr>
                                    </p:animEffect>
                                  </p:childTnLst>
                                </p:cTn>
                              </p:par>
                              <p:par>
                                <p:cTn id="21" presetID="22" presetClass="entr" presetSubtype="4"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wipe(down)">
                                      <p:cBhvr>
                                        <p:cTn id="23" dur="500"/>
                                        <p:tgtEl>
                                          <p:spTgt spid="12"/>
                                        </p:tgtEl>
                                      </p:cBhvr>
                                    </p:animEffect>
                                  </p:childTnLst>
                                </p:cTn>
                              </p:par>
                              <p:par>
                                <p:cTn id="24" presetID="22" presetClass="entr" presetSubtype="4" fill="hold" grpId="0"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down)">
                                      <p:cBhvr>
                                        <p:cTn id="26" dur="500"/>
                                        <p:tgtEl>
                                          <p:spTgt spid="16"/>
                                        </p:tgtEl>
                                      </p:cBhvr>
                                    </p:animEffect>
                                  </p:childTnLst>
                                </p:cTn>
                              </p:par>
                              <p:par>
                                <p:cTn id="27" presetID="22" presetClass="entr" presetSubtype="4"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wipe(down)">
                                      <p:cBhvr>
                                        <p:cTn id="2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16" grpId="0"/>
      <p:bldP spid="2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1"/>
          <a:stretch>
            <a:fillRect/>
          </a:stretch>
        </p:blipFill>
        <p:spPr>
          <a:xfrm>
            <a:off x="1600200" y="952500"/>
            <a:ext cx="15087600" cy="7391400"/>
          </a:xfrm>
          <a:prstGeom prst="rect">
            <a:avLst/>
          </a:prstGeom>
          <a:ln>
            <a:noFill/>
          </a:ln>
          <a:effectLst>
            <a:softEdge rad="112500"/>
          </a:effectLst>
        </p:spPr>
      </p:pic>
      <p:sp>
        <p:nvSpPr>
          <p:cNvPr id="3" name="Rectangle 2"/>
          <p:cNvSpPr/>
          <p:nvPr/>
        </p:nvSpPr>
        <p:spPr>
          <a:xfrm>
            <a:off x="1767113" y="8801100"/>
            <a:ext cx="14935201" cy="784830"/>
          </a:xfrm>
          <a:prstGeom prst="rect">
            <a:avLst/>
          </a:prstGeom>
        </p:spPr>
        <p:txBody>
          <a:bodyPr wrap="square">
            <a:spAutoFit/>
          </a:bodyPr>
          <a:lstStyle/>
          <a:p>
            <a:pPr algn="ctr"/>
            <a:r>
              <a:rPr lang="en-US" sz="4500" b="1" dirty="0" smtClean="0">
                <a:solidFill>
                  <a:schemeClr val="accent6">
                    <a:lumMod val="50000"/>
                  </a:schemeClr>
                </a:solidFill>
                <a:latin typeface="Arial" panose="020B0604020202020204" pitchFamily="34" charset="0"/>
                <a:cs typeface="Arial" panose="020B0604020202020204" pitchFamily="34" charset="0"/>
              </a:rPr>
              <a:t>Sơ đồ tổ chức Nhà nước Văn Lang</a:t>
            </a:r>
            <a:endParaRPr lang="en-US" sz="4500" b="1" dirty="0">
              <a:solidFill>
                <a:schemeClr val="accent6">
                  <a:lumMod val="50000"/>
                </a:schemeClr>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2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barn(inVertical)">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F4F4F4"/>
        </a:solidFill>
        <a:effectLst/>
      </p:bgPr>
    </p:bg>
    <p:spTree>
      <p:nvGrpSpPr>
        <p:cNvPr id="1" name=""/>
        <p:cNvGrpSpPr/>
        <p:nvPr/>
      </p:nvGrpSpPr>
      <p:grpSpPr>
        <a:xfrm>
          <a:off x="0" y="0"/>
          <a:ext cx="0" cy="0"/>
          <a:chOff x="0" y="0"/>
          <a:chExt cx="0" cy="0"/>
        </a:xfrm>
      </p:grpSpPr>
      <p:pic>
        <p:nvPicPr>
          <p:cNvPr id="4" name="Picture 4"/>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a:off x="5410200" y="2314568"/>
            <a:ext cx="7186055" cy="761026"/>
          </a:xfrm>
          <a:prstGeom prst="rect">
            <a:avLst/>
          </a:prstGeom>
        </p:spPr>
      </p:pic>
      <p:grpSp>
        <p:nvGrpSpPr>
          <p:cNvPr id="11" name="Group 11"/>
          <p:cNvGrpSpPr/>
          <p:nvPr/>
        </p:nvGrpSpPr>
        <p:grpSpPr>
          <a:xfrm>
            <a:off x="2590800" y="3167719"/>
            <a:ext cx="15316200" cy="2051981"/>
            <a:chOff x="0" y="0"/>
            <a:chExt cx="10497372" cy="660400"/>
          </a:xfrm>
          <a:solidFill>
            <a:schemeClr val="accent6">
              <a:lumMod val="60000"/>
              <a:lumOff val="40000"/>
            </a:schemeClr>
          </a:solidFill>
        </p:grpSpPr>
        <p:sp>
          <p:nvSpPr>
            <p:cNvPr id="12" name="Freeform 12"/>
            <p:cNvSpPr/>
            <p:nvPr/>
          </p:nvSpPr>
          <p:spPr>
            <a:xfrm>
              <a:off x="0" y="0"/>
              <a:ext cx="10497372" cy="660400"/>
            </a:xfrm>
            <a:custGeom>
              <a:avLst/>
              <a:gdLst/>
              <a:ahLst/>
              <a:cxnLst/>
              <a:rect l="l" t="t" r="r" b="b"/>
              <a:pathLst>
                <a:path w="10497372" h="660400">
                  <a:moveTo>
                    <a:pt x="10372912" y="660400"/>
                  </a:moveTo>
                  <a:lnTo>
                    <a:pt x="124460" y="660400"/>
                  </a:lnTo>
                  <a:cubicBezTo>
                    <a:pt x="55880" y="660400"/>
                    <a:pt x="0" y="604520"/>
                    <a:pt x="0" y="535940"/>
                  </a:cubicBezTo>
                  <a:lnTo>
                    <a:pt x="0" y="124460"/>
                  </a:lnTo>
                  <a:cubicBezTo>
                    <a:pt x="0" y="55880"/>
                    <a:pt x="55880" y="0"/>
                    <a:pt x="124460" y="0"/>
                  </a:cubicBezTo>
                  <a:lnTo>
                    <a:pt x="10372912" y="0"/>
                  </a:lnTo>
                  <a:cubicBezTo>
                    <a:pt x="10441491" y="0"/>
                    <a:pt x="10497372" y="55880"/>
                    <a:pt x="10497372" y="124460"/>
                  </a:cubicBezTo>
                  <a:lnTo>
                    <a:pt x="10497372" y="535940"/>
                  </a:lnTo>
                  <a:cubicBezTo>
                    <a:pt x="10497372" y="604520"/>
                    <a:pt x="10441491" y="660400"/>
                    <a:pt x="10372912" y="660400"/>
                  </a:cubicBezTo>
                  <a:close/>
                </a:path>
              </a:pathLst>
            </a:custGeom>
            <a:grpFill/>
          </p:spPr>
        </p:sp>
      </p:grpSp>
      <p:sp>
        <p:nvSpPr>
          <p:cNvPr id="30" name="Rectangle 29"/>
          <p:cNvSpPr/>
          <p:nvPr/>
        </p:nvSpPr>
        <p:spPr>
          <a:xfrm>
            <a:off x="0" y="1007417"/>
            <a:ext cx="18288000" cy="926151"/>
          </a:xfrm>
          <a:prstGeom prst="rect">
            <a:avLst/>
          </a:prstGeom>
        </p:spPr>
        <p:txBody>
          <a:bodyPr wrap="square">
            <a:spAutoFit/>
          </a:bodyPr>
          <a:lstStyle/>
          <a:p>
            <a:pPr algn="ctr">
              <a:lnSpc>
                <a:spcPts val="7000"/>
              </a:lnSpc>
            </a:pPr>
            <a:r>
              <a:rPr lang="nl-NL" sz="5500" b="1" dirty="0" smtClean="0">
                <a:solidFill>
                  <a:srgbClr val="000000"/>
                </a:solidFill>
                <a:latin typeface="Arial" panose="020B0604020202020204" pitchFamily="34" charset="0"/>
                <a:ea typeface="Calibri" panose="020F0502020204030204" charset="0"/>
                <a:cs typeface="Arial" panose="020B0604020202020204" pitchFamily="34" charset="0"/>
              </a:rPr>
              <a:t>Tổ chức nhà </a:t>
            </a:r>
            <a:r>
              <a:rPr lang="nl-NL" sz="5500" b="1" dirty="0">
                <a:solidFill>
                  <a:srgbClr val="000000"/>
                </a:solidFill>
                <a:latin typeface="Arial" panose="020B0604020202020204" pitchFamily="34" charset="0"/>
                <a:ea typeface="Calibri" panose="020F0502020204030204" charset="0"/>
                <a:cs typeface="Arial" panose="020B0604020202020204" pitchFamily="34" charset="0"/>
              </a:rPr>
              <a:t>nước Văn </a:t>
            </a:r>
            <a:r>
              <a:rPr lang="nl-NL" sz="5500" b="1" dirty="0" smtClean="0">
                <a:solidFill>
                  <a:srgbClr val="000000"/>
                </a:solidFill>
                <a:latin typeface="Arial" panose="020B0604020202020204" pitchFamily="34" charset="0"/>
                <a:ea typeface="Calibri" panose="020F0502020204030204" charset="0"/>
                <a:cs typeface="Arial" panose="020B0604020202020204" pitchFamily="34" charset="0"/>
              </a:rPr>
              <a:t>Lang</a:t>
            </a:r>
            <a:endParaRPr lang="en-US" sz="5500" b="1" dirty="0">
              <a:effectLst/>
              <a:latin typeface="Arial" panose="020B0604020202020204" pitchFamily="34" charset="0"/>
              <a:ea typeface="Calibri" panose="020F0502020204030204" charset="0"/>
              <a:cs typeface="Arial" panose="020B0604020202020204" pitchFamily="34" charset="0"/>
            </a:endParaRPr>
          </a:p>
        </p:txBody>
      </p:sp>
      <p:sp>
        <p:nvSpPr>
          <p:cNvPr id="31" name="Rectangle 30"/>
          <p:cNvSpPr/>
          <p:nvPr/>
        </p:nvSpPr>
        <p:spPr>
          <a:xfrm>
            <a:off x="2705101" y="3268034"/>
            <a:ext cx="15061926" cy="1835150"/>
          </a:xfrm>
          <a:prstGeom prst="rect">
            <a:avLst/>
          </a:prstGeom>
        </p:spPr>
        <p:txBody>
          <a:bodyPr wrap="square">
            <a:spAutoFit/>
          </a:bodyPr>
          <a:lstStyle/>
          <a:p>
            <a:pPr algn="just">
              <a:lnSpc>
                <a:spcPts val="6800"/>
              </a:lnSpc>
            </a:pPr>
            <a:r>
              <a:rPr lang="en-US" sz="5000" dirty="0">
                <a:solidFill>
                  <a:srgbClr val="0070C0"/>
                </a:solidFill>
                <a:latin typeface="Times New Roman" panose="02020603050405020304" pitchFamily="18" charset="0"/>
                <a:cs typeface="Times New Roman" panose="02020603050405020304" pitchFamily="18" charset="0"/>
                <a:sym typeface="+mn-ea"/>
              </a:rPr>
              <a:t>-</a:t>
            </a:r>
            <a:r>
              <a:rPr lang="en-US" sz="5000" dirty="0" err="1">
                <a:solidFill>
                  <a:srgbClr val="0070C0"/>
                </a:solidFill>
                <a:latin typeface="Times New Roman" panose="02020603050405020304" pitchFamily="18" charset="0"/>
                <a:cs typeface="Times New Roman" panose="02020603050405020304" pitchFamily="18" charset="0"/>
                <a:sym typeface="+mn-ea"/>
              </a:rPr>
              <a:t>Tổ</a:t>
            </a:r>
            <a:r>
              <a:rPr lang="en-US" sz="5000" dirty="0">
                <a:solidFill>
                  <a:srgbClr val="0070C0"/>
                </a:solidFill>
                <a:latin typeface="Times New Roman" panose="02020603050405020304" pitchFamily="18" charset="0"/>
                <a:cs typeface="Times New Roman" panose="02020603050405020304" pitchFamily="18" charset="0"/>
                <a:sym typeface="+mn-ea"/>
              </a:rPr>
              <a:t> </a:t>
            </a:r>
            <a:r>
              <a:rPr lang="en-US" sz="5000" dirty="0" err="1">
                <a:solidFill>
                  <a:srgbClr val="0070C0"/>
                </a:solidFill>
                <a:latin typeface="Times New Roman" panose="02020603050405020304" pitchFamily="18" charset="0"/>
                <a:cs typeface="Times New Roman" panose="02020603050405020304" pitchFamily="18" charset="0"/>
                <a:sym typeface="+mn-ea"/>
              </a:rPr>
              <a:t>chức</a:t>
            </a:r>
            <a:r>
              <a:rPr lang="en-US" sz="5000" dirty="0">
                <a:solidFill>
                  <a:srgbClr val="0070C0"/>
                </a:solidFill>
                <a:latin typeface="Times New Roman" panose="02020603050405020304" pitchFamily="18" charset="0"/>
                <a:cs typeface="Times New Roman" panose="02020603050405020304" pitchFamily="18" charset="0"/>
                <a:sym typeface="+mn-ea"/>
              </a:rPr>
              <a:t> </a:t>
            </a:r>
            <a:r>
              <a:rPr lang="en-US" sz="5000" dirty="0" err="1">
                <a:solidFill>
                  <a:srgbClr val="0070C0"/>
                </a:solidFill>
                <a:latin typeface="Times New Roman" panose="02020603050405020304" pitchFamily="18" charset="0"/>
                <a:cs typeface="Times New Roman" panose="02020603050405020304" pitchFamily="18" charset="0"/>
                <a:sym typeface="+mn-ea"/>
              </a:rPr>
              <a:t>bộ</a:t>
            </a:r>
            <a:r>
              <a:rPr lang="en-US" sz="5000" dirty="0">
                <a:solidFill>
                  <a:srgbClr val="0070C0"/>
                </a:solidFill>
                <a:latin typeface="Times New Roman" panose="02020603050405020304" pitchFamily="18" charset="0"/>
                <a:cs typeface="Times New Roman" panose="02020603050405020304" pitchFamily="18" charset="0"/>
                <a:sym typeface="+mn-ea"/>
              </a:rPr>
              <a:t> </a:t>
            </a:r>
            <a:r>
              <a:rPr lang="en-US" sz="5000" dirty="0" err="1">
                <a:solidFill>
                  <a:srgbClr val="0070C0"/>
                </a:solidFill>
                <a:latin typeface="Times New Roman" panose="02020603050405020304" pitchFamily="18" charset="0"/>
                <a:cs typeface="Times New Roman" panose="02020603050405020304" pitchFamily="18" charset="0"/>
                <a:sym typeface="+mn-ea"/>
              </a:rPr>
              <a:t>máy</a:t>
            </a:r>
            <a:r>
              <a:rPr lang="en-US" sz="5000" dirty="0">
                <a:solidFill>
                  <a:srgbClr val="0070C0"/>
                </a:solidFill>
                <a:latin typeface="Times New Roman" panose="02020603050405020304" pitchFamily="18" charset="0"/>
                <a:cs typeface="Times New Roman" panose="02020603050405020304" pitchFamily="18" charset="0"/>
                <a:sym typeface="+mn-ea"/>
              </a:rPr>
              <a:t> </a:t>
            </a:r>
            <a:r>
              <a:rPr lang="en-US" sz="5000" dirty="0" err="1">
                <a:solidFill>
                  <a:srgbClr val="0070C0"/>
                </a:solidFill>
                <a:latin typeface="Times New Roman" panose="02020603050405020304" pitchFamily="18" charset="0"/>
                <a:cs typeface="Times New Roman" panose="02020603050405020304" pitchFamily="18" charset="0"/>
                <a:sym typeface="+mn-ea"/>
              </a:rPr>
              <a:t>nhà</a:t>
            </a:r>
            <a:r>
              <a:rPr lang="en-US" sz="5000" dirty="0">
                <a:solidFill>
                  <a:srgbClr val="0070C0"/>
                </a:solidFill>
                <a:latin typeface="Times New Roman" panose="02020603050405020304" pitchFamily="18" charset="0"/>
                <a:cs typeface="Times New Roman" panose="02020603050405020304" pitchFamily="18" charset="0"/>
                <a:sym typeface="+mn-ea"/>
              </a:rPr>
              <a:t> nước:15 </a:t>
            </a:r>
            <a:r>
              <a:rPr lang="en-US" sz="5000" dirty="0" err="1">
                <a:solidFill>
                  <a:srgbClr val="0070C0"/>
                </a:solidFill>
                <a:latin typeface="Times New Roman" panose="02020603050405020304" pitchFamily="18" charset="0"/>
                <a:cs typeface="Times New Roman" panose="02020603050405020304" pitchFamily="18" charset="0"/>
                <a:sym typeface="+mn-ea"/>
              </a:rPr>
              <a:t>bộ</a:t>
            </a:r>
            <a:r>
              <a:rPr lang="en-US" sz="5000" dirty="0">
                <a:solidFill>
                  <a:srgbClr val="0070C0"/>
                </a:solidFill>
                <a:latin typeface="Times New Roman" panose="02020603050405020304" pitchFamily="18" charset="0"/>
                <a:cs typeface="Times New Roman" panose="02020603050405020304" pitchFamily="18" charset="0"/>
                <a:sym typeface="+mn-ea"/>
              </a:rPr>
              <a:t>, </a:t>
            </a:r>
            <a:r>
              <a:rPr lang="en-US" sz="5000" dirty="0" err="1">
                <a:solidFill>
                  <a:srgbClr val="0070C0"/>
                </a:solidFill>
                <a:latin typeface="Times New Roman" panose="02020603050405020304" pitchFamily="18" charset="0"/>
                <a:cs typeface="Times New Roman" panose="02020603050405020304" pitchFamily="18" charset="0"/>
                <a:sym typeface="+mn-ea"/>
              </a:rPr>
              <a:t>dưới</a:t>
            </a:r>
            <a:r>
              <a:rPr lang="en-US" sz="5000" dirty="0">
                <a:solidFill>
                  <a:srgbClr val="0070C0"/>
                </a:solidFill>
                <a:latin typeface="Times New Roman" panose="02020603050405020304" pitchFamily="18" charset="0"/>
                <a:cs typeface="Times New Roman" panose="02020603050405020304" pitchFamily="18" charset="0"/>
                <a:sym typeface="+mn-ea"/>
              </a:rPr>
              <a:t> </a:t>
            </a:r>
            <a:r>
              <a:rPr lang="en-US" sz="5000" dirty="0" err="1">
                <a:solidFill>
                  <a:srgbClr val="0070C0"/>
                </a:solidFill>
                <a:latin typeface="Times New Roman" panose="02020603050405020304" pitchFamily="18" charset="0"/>
                <a:cs typeface="Times New Roman" panose="02020603050405020304" pitchFamily="18" charset="0"/>
                <a:sym typeface="+mn-ea"/>
              </a:rPr>
              <a:t>là</a:t>
            </a:r>
            <a:r>
              <a:rPr lang="en-US" sz="5000" dirty="0">
                <a:solidFill>
                  <a:srgbClr val="0070C0"/>
                </a:solidFill>
                <a:latin typeface="Times New Roman" panose="02020603050405020304" pitchFamily="18" charset="0"/>
                <a:cs typeface="Times New Roman" panose="02020603050405020304" pitchFamily="18" charset="0"/>
                <a:sym typeface="+mn-ea"/>
              </a:rPr>
              <a:t> </a:t>
            </a:r>
            <a:r>
              <a:rPr lang="en-US" sz="5000" dirty="0" err="1">
                <a:solidFill>
                  <a:srgbClr val="0070C0"/>
                </a:solidFill>
                <a:latin typeface="Times New Roman" panose="02020603050405020304" pitchFamily="18" charset="0"/>
                <a:cs typeface="Times New Roman" panose="02020603050405020304" pitchFamily="18" charset="0"/>
                <a:sym typeface="+mn-ea"/>
              </a:rPr>
              <a:t>các</a:t>
            </a:r>
            <a:r>
              <a:rPr lang="en-US" sz="5000" dirty="0">
                <a:solidFill>
                  <a:srgbClr val="0070C0"/>
                </a:solidFill>
                <a:latin typeface="Times New Roman" panose="02020603050405020304" pitchFamily="18" charset="0"/>
                <a:cs typeface="Times New Roman" panose="02020603050405020304" pitchFamily="18" charset="0"/>
                <a:sym typeface="+mn-ea"/>
              </a:rPr>
              <a:t> </a:t>
            </a:r>
            <a:r>
              <a:rPr lang="en-US" sz="5000" dirty="0" err="1">
                <a:solidFill>
                  <a:srgbClr val="0070C0"/>
                </a:solidFill>
                <a:latin typeface="Times New Roman" panose="02020603050405020304" pitchFamily="18" charset="0"/>
                <a:cs typeface="Times New Roman" panose="02020603050405020304" pitchFamily="18" charset="0"/>
                <a:sym typeface="+mn-ea"/>
              </a:rPr>
              <a:t>chiềng</a:t>
            </a:r>
            <a:r>
              <a:rPr lang="en-US" sz="5000" dirty="0">
                <a:solidFill>
                  <a:srgbClr val="0070C0"/>
                </a:solidFill>
                <a:latin typeface="Times New Roman" panose="02020603050405020304" pitchFamily="18" charset="0"/>
                <a:cs typeface="Times New Roman" panose="02020603050405020304" pitchFamily="18" charset="0"/>
                <a:sym typeface="+mn-ea"/>
              </a:rPr>
              <a:t>, </a:t>
            </a:r>
            <a:r>
              <a:rPr lang="en-US" sz="5000" dirty="0" err="1">
                <a:solidFill>
                  <a:srgbClr val="0070C0"/>
                </a:solidFill>
                <a:latin typeface="Times New Roman" panose="02020603050405020304" pitchFamily="18" charset="0"/>
                <a:cs typeface="Times New Roman" panose="02020603050405020304" pitchFamily="18" charset="0"/>
                <a:sym typeface="+mn-ea"/>
              </a:rPr>
              <a:t>chạ</a:t>
            </a:r>
            <a:r>
              <a:rPr lang="en-US" sz="5000" dirty="0">
                <a:solidFill>
                  <a:srgbClr val="0070C0"/>
                </a:solidFill>
                <a:latin typeface="Times New Roman" panose="02020603050405020304" pitchFamily="18" charset="0"/>
                <a:cs typeface="Times New Roman" panose="02020603050405020304" pitchFamily="18" charset="0"/>
                <a:sym typeface="Wingdings" panose="05000000000000000000" pitchFamily="2" charset="2"/>
              </a:rPr>
              <a:t></a:t>
            </a:r>
            <a:r>
              <a:rPr lang="en-US" sz="5000" dirty="0">
                <a:solidFill>
                  <a:srgbClr val="0070C0"/>
                </a:solidFill>
                <a:latin typeface="Times New Roman" panose="02020603050405020304" pitchFamily="18" charset="0"/>
                <a:cs typeface="Times New Roman" panose="02020603050405020304" pitchFamily="18" charset="0"/>
                <a:sym typeface="+mn-ea"/>
              </a:rPr>
              <a:t> </a:t>
            </a:r>
            <a:r>
              <a:rPr lang="en-US" sz="5000" dirty="0" err="1">
                <a:solidFill>
                  <a:srgbClr val="0070C0"/>
                </a:solidFill>
                <a:latin typeface="Times New Roman" panose="02020603050405020304" pitchFamily="18" charset="0"/>
                <a:cs typeface="Times New Roman" panose="02020603050405020304" pitchFamily="18" charset="0"/>
                <a:sym typeface="+mn-ea"/>
              </a:rPr>
              <a:t>tổ</a:t>
            </a:r>
            <a:r>
              <a:rPr lang="en-US" sz="5000" dirty="0">
                <a:solidFill>
                  <a:srgbClr val="0070C0"/>
                </a:solidFill>
                <a:latin typeface="Times New Roman" panose="02020603050405020304" pitchFamily="18" charset="0"/>
                <a:cs typeface="Times New Roman" panose="02020603050405020304" pitchFamily="18" charset="0"/>
                <a:sym typeface="+mn-ea"/>
              </a:rPr>
              <a:t> </a:t>
            </a:r>
            <a:r>
              <a:rPr lang="en-US" sz="5000" dirty="0" err="1">
                <a:solidFill>
                  <a:srgbClr val="0070C0"/>
                </a:solidFill>
                <a:latin typeface="Times New Roman" panose="02020603050405020304" pitchFamily="18" charset="0"/>
                <a:cs typeface="Times New Roman" panose="02020603050405020304" pitchFamily="18" charset="0"/>
                <a:sym typeface="+mn-ea"/>
              </a:rPr>
              <a:t>chức</a:t>
            </a:r>
            <a:r>
              <a:rPr lang="en-US" sz="5000" dirty="0">
                <a:solidFill>
                  <a:srgbClr val="0070C0"/>
                </a:solidFill>
                <a:latin typeface="Times New Roman" panose="02020603050405020304" pitchFamily="18" charset="0"/>
                <a:cs typeface="Times New Roman" panose="02020603050405020304" pitchFamily="18" charset="0"/>
                <a:sym typeface="+mn-ea"/>
              </a:rPr>
              <a:t> </a:t>
            </a:r>
            <a:r>
              <a:rPr lang="en-US" sz="5000" dirty="0" err="1">
                <a:solidFill>
                  <a:srgbClr val="0070C0"/>
                </a:solidFill>
                <a:latin typeface="Times New Roman" panose="02020603050405020304" pitchFamily="18" charset="0"/>
                <a:cs typeface="Times New Roman" panose="02020603050405020304" pitchFamily="18" charset="0"/>
                <a:sym typeface="+mn-ea"/>
              </a:rPr>
              <a:t>đơn</a:t>
            </a:r>
            <a:r>
              <a:rPr lang="en-US" sz="5000" dirty="0">
                <a:solidFill>
                  <a:srgbClr val="0070C0"/>
                </a:solidFill>
                <a:latin typeface="Times New Roman" panose="02020603050405020304" pitchFamily="18" charset="0"/>
                <a:cs typeface="Times New Roman" panose="02020603050405020304" pitchFamily="18" charset="0"/>
                <a:sym typeface="+mn-ea"/>
              </a:rPr>
              <a:t> </a:t>
            </a:r>
            <a:r>
              <a:rPr lang="en-US" sz="5000" dirty="0" err="1">
                <a:solidFill>
                  <a:srgbClr val="0070C0"/>
                </a:solidFill>
                <a:latin typeface="Times New Roman" panose="02020603050405020304" pitchFamily="18" charset="0"/>
                <a:cs typeface="Times New Roman" panose="02020603050405020304" pitchFamily="18" charset="0"/>
                <a:sym typeface="+mn-ea"/>
              </a:rPr>
              <a:t>giản</a:t>
            </a:r>
            <a:r>
              <a:rPr lang="en-US" sz="5000" dirty="0">
                <a:solidFill>
                  <a:srgbClr val="0070C0"/>
                </a:solidFill>
                <a:latin typeface="Times New Roman" panose="02020603050405020304" pitchFamily="18" charset="0"/>
                <a:cs typeface="Times New Roman" panose="02020603050405020304" pitchFamily="18" charset="0"/>
                <a:sym typeface="+mn-ea"/>
              </a:rPr>
              <a:t>, </a:t>
            </a:r>
            <a:r>
              <a:rPr lang="en-US" sz="5000" dirty="0" err="1">
                <a:solidFill>
                  <a:srgbClr val="0070C0"/>
                </a:solidFill>
                <a:latin typeface="Times New Roman" panose="02020603050405020304" pitchFamily="18" charset="0"/>
                <a:cs typeface="Times New Roman" panose="02020603050405020304" pitchFamily="18" charset="0"/>
                <a:sym typeface="+mn-ea"/>
              </a:rPr>
              <a:t>sơ</a:t>
            </a:r>
            <a:r>
              <a:rPr lang="en-US" sz="5000" dirty="0">
                <a:solidFill>
                  <a:srgbClr val="0070C0"/>
                </a:solidFill>
                <a:latin typeface="Times New Roman" panose="02020603050405020304" pitchFamily="18" charset="0"/>
                <a:cs typeface="Times New Roman" panose="02020603050405020304" pitchFamily="18" charset="0"/>
                <a:sym typeface="+mn-ea"/>
              </a:rPr>
              <a:t> </a:t>
            </a:r>
            <a:r>
              <a:rPr lang="en-US" sz="5000" dirty="0" err="1">
                <a:solidFill>
                  <a:srgbClr val="0070C0"/>
                </a:solidFill>
                <a:latin typeface="Times New Roman" panose="02020603050405020304" pitchFamily="18" charset="0"/>
                <a:cs typeface="Times New Roman" panose="02020603050405020304" pitchFamily="18" charset="0"/>
                <a:sym typeface="+mn-ea"/>
              </a:rPr>
              <a:t>khai</a:t>
            </a:r>
            <a:endParaRPr lang="en-US" sz="5000" dirty="0">
              <a:latin typeface="Arial" panose="020B0604020202020204" pitchFamily="34" charset="0"/>
              <a:ea typeface="Calibri" panose="020F0502020204030204" charset="0"/>
              <a:cs typeface="Arial" panose="020B0604020202020204" pitchFamily="34" charset="0"/>
            </a:endParaRPr>
          </a:p>
        </p:txBody>
      </p:sp>
      <p:pic>
        <p:nvPicPr>
          <p:cNvPr id="35" name="Picture 7"/>
          <p:cNvPicPr>
            <a:picLocks noChangeAspect="1"/>
          </p:cNvPicPr>
          <p:nvPr/>
        </p:nvPicPr>
        <p:blipFill>
          <a:blip/>
          <a:srcRect/>
          <a:stretch>
            <a:fillRect/>
          </a:stretch>
        </p:blipFill>
        <p:spPr>
          <a:xfrm flipH="1">
            <a:off x="29029" y="2314568"/>
            <a:ext cx="2420770" cy="7772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barn(inVertical)">
                                      <p:cBhvr>
                                        <p:cTn id="7" dur="500"/>
                                        <p:tgtEl>
                                          <p:spTgt spid="3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barn(inVertical)">
                                      <p:cBhvr>
                                        <p:cTn id="12" dur="500"/>
                                        <p:tgtEl>
                                          <p:spTgt spid="30"/>
                                        </p:tgtEl>
                                      </p:cBhvr>
                                    </p:animEffect>
                                  </p:childTnLst>
                                </p:cTn>
                              </p:par>
                              <p:par>
                                <p:cTn id="13" presetID="16" presetClass="entr" presetSubtype="21"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barn(inVertical)">
                                      <p:cBhvr>
                                        <p:cTn id="15" dur="500"/>
                                        <p:tgtEl>
                                          <p:spTgt spid="4"/>
                                        </p:tgtEl>
                                      </p:cBhvr>
                                    </p:animEffect>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grpId="0" nodeType="click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barn(inVertical)">
                                      <p:cBhvr>
                                        <p:cTn id="20" dur="500"/>
                                        <p:tgtEl>
                                          <p:spTgt spid="31"/>
                                        </p:tgtEl>
                                      </p:cBhvr>
                                    </p:animEffect>
                                  </p:childTnLst>
                                </p:cTn>
                              </p:par>
                              <p:par>
                                <p:cTn id="21" presetID="16" presetClass="entr" presetSubtype="21"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barn(inVertical)">
                                      <p:cBhvr>
                                        <p:cTn id="2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6F6F6"/>
        </a:solidFill>
        <a:effectLst/>
      </p:bgPr>
    </p:bg>
    <p:spTree>
      <p:nvGrpSpPr>
        <p:cNvPr id="1" name=""/>
        <p:cNvGrpSpPr/>
        <p:nvPr/>
      </p:nvGrpSpPr>
      <p:grpSpPr>
        <a:xfrm>
          <a:off x="0" y="0"/>
          <a:ext cx="0" cy="0"/>
          <a:chOff x="0" y="0"/>
          <a:chExt cx="0" cy="0"/>
        </a:xfrm>
      </p:grpSpPr>
      <p:sp>
        <p:nvSpPr>
          <p:cNvPr id="2" name="AutoShape 2"/>
          <p:cNvSpPr/>
          <p:nvPr/>
        </p:nvSpPr>
        <p:spPr>
          <a:xfrm>
            <a:off x="8011750" y="0"/>
            <a:ext cx="10276250" cy="10287000"/>
          </a:xfrm>
          <a:prstGeom prst="rect">
            <a:avLst/>
          </a:prstGeom>
          <a:solidFill>
            <a:srgbClr val="F5A700"/>
          </a:solidFill>
        </p:spPr>
      </p:sp>
      <p:grpSp>
        <p:nvGrpSpPr>
          <p:cNvPr id="3" name="Group 3"/>
          <p:cNvGrpSpPr/>
          <p:nvPr/>
        </p:nvGrpSpPr>
        <p:grpSpPr>
          <a:xfrm>
            <a:off x="6620779" y="1028700"/>
            <a:ext cx="10638521" cy="2351341"/>
            <a:chOff x="0" y="0"/>
            <a:chExt cx="3598710" cy="795392"/>
          </a:xfrm>
        </p:grpSpPr>
        <p:sp>
          <p:nvSpPr>
            <p:cNvPr id="4" name="Freeform 4"/>
            <p:cNvSpPr/>
            <p:nvPr/>
          </p:nvSpPr>
          <p:spPr>
            <a:xfrm>
              <a:off x="0" y="0"/>
              <a:ext cx="3598710" cy="795392"/>
            </a:xfrm>
            <a:custGeom>
              <a:avLst/>
              <a:gdLst/>
              <a:ahLst/>
              <a:cxnLst/>
              <a:rect l="l" t="t" r="r" b="b"/>
              <a:pathLst>
                <a:path w="3598710" h="795392">
                  <a:moveTo>
                    <a:pt x="3474250" y="795392"/>
                  </a:moveTo>
                  <a:lnTo>
                    <a:pt x="124460" y="795392"/>
                  </a:lnTo>
                  <a:cubicBezTo>
                    <a:pt x="55880" y="795392"/>
                    <a:pt x="0" y="739512"/>
                    <a:pt x="0" y="670932"/>
                  </a:cubicBezTo>
                  <a:lnTo>
                    <a:pt x="0" y="124460"/>
                  </a:lnTo>
                  <a:cubicBezTo>
                    <a:pt x="0" y="55880"/>
                    <a:pt x="55880" y="0"/>
                    <a:pt x="124460" y="0"/>
                  </a:cubicBezTo>
                  <a:lnTo>
                    <a:pt x="3474250" y="0"/>
                  </a:lnTo>
                  <a:cubicBezTo>
                    <a:pt x="3542829" y="0"/>
                    <a:pt x="3598710" y="55880"/>
                    <a:pt x="3598710" y="124460"/>
                  </a:cubicBezTo>
                  <a:lnTo>
                    <a:pt x="3598710" y="670932"/>
                  </a:lnTo>
                  <a:cubicBezTo>
                    <a:pt x="3598710" y="739512"/>
                    <a:pt x="3542829" y="795392"/>
                    <a:pt x="3474250" y="795392"/>
                  </a:cubicBezTo>
                  <a:close/>
                </a:path>
              </a:pathLst>
            </a:custGeom>
            <a:solidFill>
              <a:srgbClr val="FFFFFF"/>
            </a:solidFill>
          </p:spPr>
        </p:sp>
      </p:grpSp>
      <p:grpSp>
        <p:nvGrpSpPr>
          <p:cNvPr id="5" name="Group 5"/>
          <p:cNvGrpSpPr/>
          <p:nvPr/>
        </p:nvGrpSpPr>
        <p:grpSpPr>
          <a:xfrm>
            <a:off x="6620779" y="3651105"/>
            <a:ext cx="10638521" cy="2668066"/>
            <a:chOff x="0" y="0"/>
            <a:chExt cx="3598710" cy="795392"/>
          </a:xfrm>
        </p:grpSpPr>
        <p:sp>
          <p:nvSpPr>
            <p:cNvPr id="6" name="Freeform 6"/>
            <p:cNvSpPr/>
            <p:nvPr/>
          </p:nvSpPr>
          <p:spPr>
            <a:xfrm>
              <a:off x="0" y="0"/>
              <a:ext cx="3598710" cy="795392"/>
            </a:xfrm>
            <a:custGeom>
              <a:avLst/>
              <a:gdLst/>
              <a:ahLst/>
              <a:cxnLst/>
              <a:rect l="l" t="t" r="r" b="b"/>
              <a:pathLst>
                <a:path w="3598710" h="795392">
                  <a:moveTo>
                    <a:pt x="3474250" y="795392"/>
                  </a:moveTo>
                  <a:lnTo>
                    <a:pt x="124460" y="795392"/>
                  </a:lnTo>
                  <a:cubicBezTo>
                    <a:pt x="55880" y="795392"/>
                    <a:pt x="0" y="739512"/>
                    <a:pt x="0" y="670932"/>
                  </a:cubicBezTo>
                  <a:lnTo>
                    <a:pt x="0" y="124460"/>
                  </a:lnTo>
                  <a:cubicBezTo>
                    <a:pt x="0" y="55880"/>
                    <a:pt x="55880" y="0"/>
                    <a:pt x="124460" y="0"/>
                  </a:cubicBezTo>
                  <a:lnTo>
                    <a:pt x="3474250" y="0"/>
                  </a:lnTo>
                  <a:cubicBezTo>
                    <a:pt x="3542829" y="0"/>
                    <a:pt x="3598710" y="55880"/>
                    <a:pt x="3598710" y="124460"/>
                  </a:cubicBezTo>
                  <a:lnTo>
                    <a:pt x="3598710" y="670932"/>
                  </a:lnTo>
                  <a:cubicBezTo>
                    <a:pt x="3598710" y="739512"/>
                    <a:pt x="3542829" y="795392"/>
                    <a:pt x="3474250" y="795392"/>
                  </a:cubicBezTo>
                  <a:close/>
                </a:path>
              </a:pathLst>
            </a:custGeom>
            <a:solidFill>
              <a:srgbClr val="FFFFFF"/>
            </a:solidFill>
          </p:spPr>
        </p:sp>
      </p:grpSp>
      <p:grpSp>
        <p:nvGrpSpPr>
          <p:cNvPr id="7" name="Group 7"/>
          <p:cNvGrpSpPr/>
          <p:nvPr/>
        </p:nvGrpSpPr>
        <p:grpSpPr>
          <a:xfrm>
            <a:off x="6620779" y="6906959"/>
            <a:ext cx="10638521" cy="2530565"/>
            <a:chOff x="0" y="0"/>
            <a:chExt cx="3598710" cy="795392"/>
          </a:xfrm>
        </p:grpSpPr>
        <p:sp>
          <p:nvSpPr>
            <p:cNvPr id="8" name="Freeform 8"/>
            <p:cNvSpPr/>
            <p:nvPr/>
          </p:nvSpPr>
          <p:spPr>
            <a:xfrm>
              <a:off x="0" y="0"/>
              <a:ext cx="3598710" cy="795392"/>
            </a:xfrm>
            <a:custGeom>
              <a:avLst/>
              <a:gdLst/>
              <a:ahLst/>
              <a:cxnLst/>
              <a:rect l="l" t="t" r="r" b="b"/>
              <a:pathLst>
                <a:path w="3598710" h="795392">
                  <a:moveTo>
                    <a:pt x="3474250" y="795392"/>
                  </a:moveTo>
                  <a:lnTo>
                    <a:pt x="124460" y="795392"/>
                  </a:lnTo>
                  <a:cubicBezTo>
                    <a:pt x="55880" y="795392"/>
                    <a:pt x="0" y="739512"/>
                    <a:pt x="0" y="670932"/>
                  </a:cubicBezTo>
                  <a:lnTo>
                    <a:pt x="0" y="124460"/>
                  </a:lnTo>
                  <a:cubicBezTo>
                    <a:pt x="0" y="55880"/>
                    <a:pt x="55880" y="0"/>
                    <a:pt x="124460" y="0"/>
                  </a:cubicBezTo>
                  <a:lnTo>
                    <a:pt x="3474250" y="0"/>
                  </a:lnTo>
                  <a:cubicBezTo>
                    <a:pt x="3542829" y="0"/>
                    <a:pt x="3598710" y="55880"/>
                    <a:pt x="3598710" y="124460"/>
                  </a:cubicBezTo>
                  <a:lnTo>
                    <a:pt x="3598710" y="670932"/>
                  </a:lnTo>
                  <a:cubicBezTo>
                    <a:pt x="3598710" y="739512"/>
                    <a:pt x="3542829" y="795392"/>
                    <a:pt x="3474250" y="795392"/>
                  </a:cubicBezTo>
                  <a:close/>
                </a:path>
              </a:pathLst>
            </a:custGeom>
            <a:solidFill>
              <a:srgbClr val="FFFFFF"/>
            </a:solidFill>
          </p:spPr>
        </p:sp>
      </p:grpSp>
      <p:sp>
        <p:nvSpPr>
          <p:cNvPr id="9" name="TextBox 9"/>
          <p:cNvSpPr txBox="1"/>
          <p:nvPr/>
        </p:nvSpPr>
        <p:spPr>
          <a:xfrm>
            <a:off x="822934" y="1185763"/>
            <a:ext cx="5185432" cy="1731500"/>
          </a:xfrm>
          <a:prstGeom prst="rect">
            <a:avLst/>
          </a:prstGeom>
        </p:spPr>
        <p:txBody>
          <a:bodyPr lIns="0" tIns="0" rIns="0" bIns="0" rtlCol="0" anchor="t">
            <a:spAutoFit/>
          </a:bodyPr>
          <a:lstStyle/>
          <a:p>
            <a:pPr marL="0" lvl="0" indent="0" algn="ctr">
              <a:lnSpc>
                <a:spcPts val="7000"/>
              </a:lnSpc>
              <a:spcBef>
                <a:spcPct val="0"/>
              </a:spcBef>
            </a:pPr>
            <a:r>
              <a:rPr lang="en-US" sz="5500" b="1" spc="-72" dirty="0" smtClean="0">
                <a:solidFill>
                  <a:srgbClr val="14110F"/>
                </a:solidFill>
                <a:latin typeface="Arial" panose="020B0604020202020204" pitchFamily="34" charset="0"/>
                <a:cs typeface="Arial" panose="020B0604020202020204" pitchFamily="34" charset="0"/>
              </a:rPr>
              <a:t>Giải thích </a:t>
            </a:r>
            <a:endParaRPr lang="en-US" sz="5500" b="1" spc="-72" dirty="0" smtClean="0">
              <a:solidFill>
                <a:srgbClr val="14110F"/>
              </a:solidFill>
              <a:latin typeface="Arial" panose="020B0604020202020204" pitchFamily="34" charset="0"/>
              <a:cs typeface="Arial" panose="020B0604020202020204" pitchFamily="34" charset="0"/>
            </a:endParaRPr>
          </a:p>
          <a:p>
            <a:pPr marL="0" lvl="0" indent="0" algn="ctr">
              <a:lnSpc>
                <a:spcPts val="7000"/>
              </a:lnSpc>
              <a:spcBef>
                <a:spcPct val="0"/>
              </a:spcBef>
            </a:pPr>
            <a:r>
              <a:rPr lang="en-US" sz="5500" b="1" spc="-72" dirty="0" smtClean="0">
                <a:solidFill>
                  <a:srgbClr val="14110F"/>
                </a:solidFill>
                <a:latin typeface="Arial" panose="020B0604020202020204" pitchFamily="34" charset="0"/>
                <a:cs typeface="Arial" panose="020B0604020202020204" pitchFamily="34" charset="0"/>
              </a:rPr>
              <a:t>các khái niệm</a:t>
            </a:r>
            <a:endParaRPr lang="en-US" sz="5500" b="1" spc="-72" dirty="0">
              <a:solidFill>
                <a:srgbClr val="14110F"/>
              </a:solidFill>
              <a:latin typeface="Arial" panose="020B0604020202020204" pitchFamily="34" charset="0"/>
              <a:cs typeface="Arial" panose="020B0604020202020204" pitchFamily="34" charset="0"/>
            </a:endParaRPr>
          </a:p>
        </p:txBody>
      </p:sp>
      <p:sp>
        <p:nvSpPr>
          <p:cNvPr id="21" name="Rectangle 20"/>
          <p:cNvSpPr/>
          <p:nvPr/>
        </p:nvSpPr>
        <p:spPr>
          <a:xfrm>
            <a:off x="6661527" y="1299763"/>
            <a:ext cx="10721205" cy="1809213"/>
          </a:xfrm>
          <a:prstGeom prst="rect">
            <a:avLst/>
          </a:prstGeom>
        </p:spPr>
        <p:txBody>
          <a:bodyPr wrap="none">
            <a:spAutoFit/>
          </a:bodyPr>
          <a:lstStyle/>
          <a:p>
            <a:pPr algn="just">
              <a:lnSpc>
                <a:spcPts val="7000"/>
              </a:lnSpc>
            </a:pPr>
            <a:r>
              <a:rPr lang="fr-FR" sz="5000" b="1" dirty="0">
                <a:solidFill>
                  <a:srgbClr val="000000"/>
                </a:solidFill>
                <a:latin typeface="Arial" panose="020B0604020202020204" pitchFamily="34" charset="0"/>
                <a:ea typeface="Calibri" panose="020F0502020204030204" charset="0"/>
                <a:cs typeface="Arial" panose="020B0604020202020204" pitchFamily="34" charset="0"/>
              </a:rPr>
              <a:t>Bồ chính: </a:t>
            </a:r>
            <a:r>
              <a:rPr lang="fr-FR" sz="5000" dirty="0">
                <a:solidFill>
                  <a:srgbClr val="000000"/>
                </a:solidFill>
                <a:latin typeface="Arial" panose="020B0604020202020204" pitchFamily="34" charset="0"/>
                <a:ea typeface="Calibri" panose="020F0502020204030204" charset="0"/>
                <a:cs typeface="Arial" panose="020B0604020202020204" pitchFamily="34" charset="0"/>
              </a:rPr>
              <a:t>già làng đứng đầu </a:t>
            </a:r>
            <a:r>
              <a:rPr lang="fr-FR" sz="5000" dirty="0" smtClean="0">
                <a:solidFill>
                  <a:srgbClr val="000000"/>
                </a:solidFill>
                <a:latin typeface="Arial" panose="020B0604020202020204" pitchFamily="34" charset="0"/>
                <a:ea typeface="Calibri" panose="020F0502020204030204" charset="0"/>
                <a:cs typeface="Arial" panose="020B0604020202020204" pitchFamily="34" charset="0"/>
              </a:rPr>
              <a:t>chiềng,</a:t>
            </a:r>
            <a:endParaRPr lang="fr-FR" sz="5000" dirty="0" smtClean="0">
              <a:solidFill>
                <a:srgbClr val="000000"/>
              </a:solidFill>
              <a:latin typeface="Arial" panose="020B0604020202020204" pitchFamily="34" charset="0"/>
              <a:ea typeface="Calibri" panose="020F0502020204030204" charset="0"/>
              <a:cs typeface="Arial" panose="020B0604020202020204" pitchFamily="34" charset="0"/>
            </a:endParaRPr>
          </a:p>
          <a:p>
            <a:pPr algn="just">
              <a:lnSpc>
                <a:spcPts val="7000"/>
              </a:lnSpc>
            </a:pPr>
            <a:r>
              <a:rPr lang="fr-FR" sz="5000" dirty="0" smtClean="0">
                <a:solidFill>
                  <a:srgbClr val="000000"/>
                </a:solidFill>
                <a:latin typeface="Arial" panose="020B0604020202020204" pitchFamily="34" charset="0"/>
                <a:ea typeface="Calibri" panose="020F0502020204030204" charset="0"/>
                <a:cs typeface="Arial" panose="020B0604020202020204" pitchFamily="34" charset="0"/>
              </a:rPr>
              <a:t>chạ </a:t>
            </a:r>
            <a:r>
              <a:rPr lang="fr-FR" sz="5000" dirty="0">
                <a:solidFill>
                  <a:srgbClr val="000000"/>
                </a:solidFill>
                <a:latin typeface="Arial" panose="020B0604020202020204" pitchFamily="34" charset="0"/>
                <a:ea typeface="Calibri" panose="020F0502020204030204" charset="0"/>
                <a:cs typeface="Arial" panose="020B0604020202020204" pitchFamily="34" charset="0"/>
              </a:rPr>
              <a:t>thời Hùng Vương.</a:t>
            </a:r>
            <a:endParaRPr lang="en-US" sz="5000" dirty="0">
              <a:effectLst/>
              <a:latin typeface="Arial" panose="020B0604020202020204" pitchFamily="34" charset="0"/>
              <a:ea typeface="Calibri" panose="020F0502020204030204" charset="0"/>
              <a:cs typeface="Arial" panose="020B0604020202020204" pitchFamily="34" charset="0"/>
            </a:endParaRPr>
          </a:p>
        </p:txBody>
      </p:sp>
      <p:sp>
        <p:nvSpPr>
          <p:cNvPr id="22" name="Rectangle 21"/>
          <p:cNvSpPr/>
          <p:nvPr/>
        </p:nvSpPr>
        <p:spPr>
          <a:xfrm>
            <a:off x="6987039" y="3726153"/>
            <a:ext cx="9906000" cy="2593018"/>
          </a:xfrm>
          <a:prstGeom prst="rect">
            <a:avLst/>
          </a:prstGeom>
        </p:spPr>
        <p:txBody>
          <a:bodyPr wrap="square">
            <a:spAutoFit/>
          </a:bodyPr>
          <a:lstStyle/>
          <a:p>
            <a:pPr algn="just">
              <a:lnSpc>
                <a:spcPts val="6500"/>
              </a:lnSpc>
            </a:pPr>
            <a:r>
              <a:rPr lang="fr-FR" sz="5000" b="1" dirty="0">
                <a:solidFill>
                  <a:srgbClr val="000000"/>
                </a:solidFill>
                <a:latin typeface="Arial" panose="020B0604020202020204" pitchFamily="34" charset="0"/>
                <a:ea typeface="Calibri" panose="020F0502020204030204" charset="0"/>
                <a:cs typeface="Arial" panose="020B0604020202020204" pitchFamily="34" charset="0"/>
              </a:rPr>
              <a:t>Lạc hầu: </a:t>
            </a:r>
            <a:r>
              <a:rPr lang="fr-FR" sz="5000" dirty="0">
                <a:solidFill>
                  <a:srgbClr val="000000"/>
                </a:solidFill>
                <a:latin typeface="Arial" panose="020B0604020202020204" pitchFamily="34" charset="0"/>
                <a:ea typeface="Calibri" panose="020F0502020204030204" charset="0"/>
                <a:cs typeface="Arial" panose="020B0604020202020204" pitchFamily="34" charset="0"/>
              </a:rPr>
              <a:t>chức quan phụ trách việc dân sự (quan văn) </a:t>
            </a:r>
            <a:r>
              <a:rPr lang="fr-FR" sz="5000" dirty="0" smtClean="0">
                <a:solidFill>
                  <a:srgbClr val="000000"/>
                </a:solidFill>
                <a:latin typeface="Arial" panose="020B0604020202020204" pitchFamily="34" charset="0"/>
                <a:ea typeface="Calibri" panose="020F0502020204030204" charset="0"/>
                <a:cs typeface="Arial" panose="020B0604020202020204" pitchFamily="34" charset="0"/>
              </a:rPr>
              <a:t>thời </a:t>
            </a:r>
            <a:r>
              <a:rPr lang="fr-FR" sz="5000" dirty="0">
                <a:solidFill>
                  <a:srgbClr val="000000"/>
                </a:solidFill>
                <a:latin typeface="Arial" panose="020B0604020202020204" pitchFamily="34" charset="0"/>
                <a:ea typeface="Calibri" panose="020F0502020204030204" charset="0"/>
                <a:cs typeface="Arial" panose="020B0604020202020204" pitchFamily="34" charset="0"/>
              </a:rPr>
              <a:t>Hùng Vương - An Dương Vương.</a:t>
            </a:r>
            <a:endParaRPr lang="en-US" sz="5000" dirty="0">
              <a:effectLst/>
              <a:latin typeface="Arial" panose="020B0604020202020204" pitchFamily="34" charset="0"/>
              <a:ea typeface="Calibri" panose="020F0502020204030204" charset="0"/>
              <a:cs typeface="Arial" panose="020B0604020202020204" pitchFamily="34" charset="0"/>
            </a:endParaRPr>
          </a:p>
        </p:txBody>
      </p:sp>
      <p:sp>
        <p:nvSpPr>
          <p:cNvPr id="23" name="Rectangle 22"/>
          <p:cNvSpPr/>
          <p:nvPr/>
        </p:nvSpPr>
        <p:spPr>
          <a:xfrm>
            <a:off x="6745504" y="6890630"/>
            <a:ext cx="10553250" cy="2530565"/>
          </a:xfrm>
          <a:prstGeom prst="rect">
            <a:avLst/>
          </a:prstGeom>
        </p:spPr>
        <p:txBody>
          <a:bodyPr wrap="square">
            <a:spAutoFit/>
          </a:bodyPr>
          <a:lstStyle/>
          <a:p>
            <a:pPr algn="just">
              <a:lnSpc>
                <a:spcPts val="6300"/>
              </a:lnSpc>
            </a:pPr>
            <a:r>
              <a:rPr lang="fr-FR" sz="5000" b="1" dirty="0">
                <a:solidFill>
                  <a:srgbClr val="000000"/>
                </a:solidFill>
                <a:latin typeface="Arial" panose="020B0604020202020204" pitchFamily="34" charset="0"/>
                <a:ea typeface="Calibri" panose="020F0502020204030204" charset="0"/>
                <a:cs typeface="Arial" panose="020B0604020202020204" pitchFamily="34" charset="0"/>
              </a:rPr>
              <a:t>Lạc tướng: </a:t>
            </a:r>
            <a:r>
              <a:rPr lang="fr-FR" sz="5000" dirty="0">
                <a:solidFill>
                  <a:srgbClr val="000000"/>
                </a:solidFill>
                <a:latin typeface="Arial" panose="020B0604020202020204" pitchFamily="34" charset="0"/>
                <a:ea typeface="Calibri" panose="020F0502020204030204" charset="0"/>
                <a:cs typeface="Arial" panose="020B0604020202020204" pitchFamily="34" charset="0"/>
              </a:rPr>
              <a:t>chức quan phụ trách việc quân sự </a:t>
            </a:r>
            <a:r>
              <a:rPr lang="fr-FR" sz="5000" dirty="0" smtClean="0">
                <a:solidFill>
                  <a:srgbClr val="000000"/>
                </a:solidFill>
                <a:latin typeface="Arial" panose="020B0604020202020204" pitchFamily="34" charset="0"/>
                <a:ea typeface="Calibri" panose="020F0502020204030204" charset="0"/>
                <a:cs typeface="Arial" panose="020B0604020202020204" pitchFamily="34" charset="0"/>
              </a:rPr>
              <a:t>(</a:t>
            </a:r>
            <a:r>
              <a:rPr lang="fr-FR" sz="5000" dirty="0">
                <a:solidFill>
                  <a:srgbClr val="000000"/>
                </a:solidFill>
                <a:latin typeface="Arial" panose="020B0604020202020204" pitchFamily="34" charset="0"/>
                <a:ea typeface="Calibri" panose="020F0502020204030204" charset="0"/>
                <a:cs typeface="Arial" panose="020B0604020202020204" pitchFamily="34" charset="0"/>
              </a:rPr>
              <a:t>quan võ) thời Hùng Vương - An Dương Vương</a:t>
            </a:r>
            <a:endParaRPr lang="en-US" sz="5000" dirty="0">
              <a:latin typeface="Arial" panose="020B0604020202020204" pitchFamily="34" charset="0"/>
              <a:cs typeface="Arial" panose="020B0604020202020204" pitchFamily="34" charset="0"/>
            </a:endParaRPr>
          </a:p>
        </p:txBody>
      </p:sp>
      <p:pic>
        <p:nvPicPr>
          <p:cNvPr id="24" name="Picture 34"/>
          <p:cNvPicPr>
            <a:picLocks noChangeAspect="1"/>
          </p:cNvPicPr>
          <p:nvPr/>
        </p:nvPicPr>
        <p:blipFill>
          <a:blip/>
          <a:srcRect/>
          <a:stretch>
            <a:fillRect/>
          </a:stretch>
        </p:blipFill>
        <p:spPr>
          <a:xfrm>
            <a:off x="914400" y="5448300"/>
            <a:ext cx="4294746" cy="4595546"/>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6" presetClass="entr" presetSubtype="21" fill="hold" grpId="0" nodeType="clickEffect">
                                  <p:stCondLst>
                                    <p:cond delay="0"/>
                                  </p:stCondLst>
                                  <p:childTnLst>
                                    <p:set>
                                      <p:cBhvr>
                                        <p:cTn id="13" dur="1" fill="hold">
                                          <p:stCondLst>
                                            <p:cond delay="0"/>
                                          </p:stCondLst>
                                        </p:cTn>
                                        <p:tgtEl>
                                          <p:spTgt spid="21"/>
                                        </p:tgtEl>
                                        <p:attrNameLst>
                                          <p:attrName>style.visibility</p:attrName>
                                        </p:attrNameLst>
                                      </p:cBhvr>
                                      <p:to>
                                        <p:strVal val="visible"/>
                                      </p:to>
                                    </p:set>
                                    <p:animEffect transition="in" filter="barn(inVertical)">
                                      <p:cBhvr>
                                        <p:cTn id="14" dur="500"/>
                                        <p:tgtEl>
                                          <p:spTgt spid="21"/>
                                        </p:tgtEl>
                                      </p:cBhvr>
                                    </p:animEffect>
                                  </p:childTnLst>
                                </p:cTn>
                              </p:par>
                              <p:par>
                                <p:cTn id="15" presetID="16" presetClass="entr" presetSubtype="21" fill="hold"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arn(inVertic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barn(inVertical)">
                                      <p:cBhvr>
                                        <p:cTn id="22" dur="500"/>
                                        <p:tgtEl>
                                          <p:spTgt spid="22"/>
                                        </p:tgtEl>
                                      </p:cBhvr>
                                    </p:animEffect>
                                  </p:childTnLst>
                                </p:cTn>
                              </p:par>
                              <p:par>
                                <p:cTn id="23" presetID="16" presetClass="entr" presetSubtype="21" fill="hold" nodeType="with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barn(inVertical)">
                                      <p:cBhvr>
                                        <p:cTn id="25" dur="500"/>
                                        <p:tgtEl>
                                          <p:spTgt spid="5"/>
                                        </p:tgtEl>
                                      </p:cBhvr>
                                    </p:animEffect>
                                  </p:childTnLst>
                                </p:cTn>
                              </p:par>
                            </p:childTnLst>
                          </p:cTn>
                        </p:par>
                      </p:childTnLst>
                    </p:cTn>
                  </p:par>
                  <p:par>
                    <p:cTn id="26" fill="hold">
                      <p:stCondLst>
                        <p:cond delay="indefinite"/>
                      </p:stCondLst>
                      <p:childTnLst>
                        <p:par>
                          <p:cTn id="27" fill="hold">
                            <p:stCondLst>
                              <p:cond delay="0"/>
                            </p:stCondLst>
                            <p:childTnLst>
                              <p:par>
                                <p:cTn id="28" presetID="16" presetClass="entr" presetSubtype="21" fill="hold" grpId="0" nodeType="click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barn(inVertical)">
                                      <p:cBhvr>
                                        <p:cTn id="30" dur="500"/>
                                        <p:tgtEl>
                                          <p:spTgt spid="23"/>
                                        </p:tgtEl>
                                      </p:cBhvr>
                                    </p:animEffect>
                                  </p:childTnLst>
                                </p:cTn>
                              </p:par>
                              <p:par>
                                <p:cTn id="31" presetID="16" presetClass="entr" presetSubtype="21" fill="hold" nodeType="with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barn(inVertical)">
                                      <p:cBhvr>
                                        <p:cTn id="3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1" grpId="0"/>
      <p:bldP spid="22" grpId="0"/>
      <p:bldP spid="23" grpId="0"/>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EDF0F2"/>
        </a:solidFill>
        <a:effectLst/>
      </p:bgPr>
    </p:bg>
    <p:spTree>
      <p:nvGrpSpPr>
        <p:cNvPr id="1" name=""/>
        <p:cNvGrpSpPr/>
        <p:nvPr/>
      </p:nvGrpSpPr>
      <p:grpSpPr>
        <a:xfrm>
          <a:off x="0" y="0"/>
          <a:ext cx="0" cy="0"/>
          <a:chOff x="0" y="0"/>
          <a:chExt cx="0" cy="0"/>
        </a:xfrm>
      </p:grpSpPr>
      <p:grpSp>
        <p:nvGrpSpPr>
          <p:cNvPr id="2" name="Group 2"/>
          <p:cNvGrpSpPr/>
          <p:nvPr/>
        </p:nvGrpSpPr>
        <p:grpSpPr>
          <a:xfrm>
            <a:off x="324788" y="342900"/>
            <a:ext cx="17748327" cy="9702398"/>
            <a:chOff x="0" y="0"/>
            <a:chExt cx="16012831" cy="8753662"/>
          </a:xfrm>
        </p:grpSpPr>
        <p:sp>
          <p:nvSpPr>
            <p:cNvPr id="3" name="Freeform 3"/>
            <p:cNvSpPr/>
            <p:nvPr/>
          </p:nvSpPr>
          <p:spPr>
            <a:xfrm>
              <a:off x="0" y="0"/>
              <a:ext cx="16012832" cy="8753663"/>
            </a:xfrm>
            <a:custGeom>
              <a:avLst/>
              <a:gdLst/>
              <a:ahLst/>
              <a:cxnLst/>
              <a:rect l="l" t="t" r="r" b="b"/>
              <a:pathLst>
                <a:path w="16012832" h="8753663">
                  <a:moveTo>
                    <a:pt x="15888371" y="8753663"/>
                  </a:moveTo>
                  <a:lnTo>
                    <a:pt x="124460" y="8753663"/>
                  </a:lnTo>
                  <a:cubicBezTo>
                    <a:pt x="55880" y="8753663"/>
                    <a:pt x="0" y="8697782"/>
                    <a:pt x="0" y="8629203"/>
                  </a:cubicBezTo>
                  <a:lnTo>
                    <a:pt x="0" y="124460"/>
                  </a:lnTo>
                  <a:cubicBezTo>
                    <a:pt x="0" y="55880"/>
                    <a:pt x="55880" y="0"/>
                    <a:pt x="124460" y="0"/>
                  </a:cubicBezTo>
                  <a:lnTo>
                    <a:pt x="15888371" y="0"/>
                  </a:lnTo>
                  <a:cubicBezTo>
                    <a:pt x="15956952" y="0"/>
                    <a:pt x="16012832" y="55880"/>
                    <a:pt x="16012832" y="124460"/>
                  </a:cubicBezTo>
                  <a:lnTo>
                    <a:pt x="16012832" y="8629203"/>
                  </a:lnTo>
                  <a:cubicBezTo>
                    <a:pt x="16012832" y="8697782"/>
                    <a:pt x="15956952" y="8753663"/>
                    <a:pt x="15888371" y="8753663"/>
                  </a:cubicBezTo>
                  <a:close/>
                </a:path>
              </a:pathLst>
            </a:custGeom>
            <a:solidFill>
              <a:srgbClr val="FFFFFF"/>
            </a:solidFill>
          </p:spPr>
        </p:sp>
      </p:grpSp>
      <p:pic>
        <p:nvPicPr>
          <p:cNvPr id="4" name="Picture 4"/>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a:off x="5950671" y="3086100"/>
            <a:ext cx="7077096" cy="3040814"/>
          </a:xfrm>
          <a:prstGeom prst="rect">
            <a:avLst/>
          </a:prstGeom>
        </p:spPr>
      </p:pic>
      <p:sp>
        <p:nvSpPr>
          <p:cNvPr id="5" name="TextBox 5"/>
          <p:cNvSpPr txBox="1"/>
          <p:nvPr/>
        </p:nvSpPr>
        <p:spPr>
          <a:xfrm>
            <a:off x="6371849" y="3513340"/>
            <a:ext cx="6193598" cy="1795363"/>
          </a:xfrm>
          <a:prstGeom prst="rect">
            <a:avLst/>
          </a:prstGeom>
        </p:spPr>
        <p:txBody>
          <a:bodyPr wrap="square" lIns="0" tIns="0" rIns="0" bIns="0" rtlCol="0" anchor="t">
            <a:spAutoFit/>
          </a:bodyPr>
          <a:lstStyle/>
          <a:p>
            <a:pPr algn="ctr">
              <a:lnSpc>
                <a:spcPts val="7000"/>
              </a:lnSpc>
            </a:pPr>
            <a:r>
              <a:rPr lang="en-US" sz="5000" spc="-38" dirty="0" smtClean="0">
                <a:solidFill>
                  <a:srgbClr val="FFFFFF"/>
                </a:solidFill>
                <a:latin typeface="Arial" panose="020B0604020202020204" pitchFamily="34" charset="0"/>
                <a:cs typeface="Arial" panose="020B0604020202020204" pitchFamily="34" charset="0"/>
              </a:rPr>
              <a:t>Ý</a:t>
            </a:r>
            <a:r>
              <a:rPr lang="en-US" sz="3855" spc="-38" dirty="0" smtClean="0">
                <a:solidFill>
                  <a:srgbClr val="FFFFFF"/>
                </a:solidFill>
                <a:latin typeface="Public Sans Bold"/>
              </a:rPr>
              <a:t> </a:t>
            </a:r>
            <a:r>
              <a:rPr lang="en-US" sz="5000" spc="-38" dirty="0" smtClean="0">
                <a:solidFill>
                  <a:srgbClr val="FFFFFF"/>
                </a:solidFill>
                <a:latin typeface="Arial" panose="020B0604020202020204" pitchFamily="34" charset="0"/>
                <a:cs typeface="Arial" panose="020B0604020202020204" pitchFamily="34" charset="0"/>
              </a:rPr>
              <a:t>nghĩa sự ra đời nhà nước Văn Lang</a:t>
            </a:r>
            <a:endParaRPr lang="en-US" sz="5000" spc="-38" dirty="0">
              <a:solidFill>
                <a:srgbClr val="FFFFFF"/>
              </a:solidFill>
              <a:latin typeface="Arial" panose="020B0604020202020204" pitchFamily="34" charset="0"/>
              <a:cs typeface="Arial" panose="020B0604020202020204" pitchFamily="34" charset="0"/>
            </a:endParaRPr>
          </a:p>
        </p:txBody>
      </p:sp>
      <p:sp>
        <p:nvSpPr>
          <p:cNvPr id="7" name="TextBox 7"/>
          <p:cNvSpPr txBox="1"/>
          <p:nvPr/>
        </p:nvSpPr>
        <p:spPr>
          <a:xfrm rot="-221659">
            <a:off x="1206119" y="1358128"/>
            <a:ext cx="8872795" cy="1795363"/>
          </a:xfrm>
          <a:prstGeom prst="rect">
            <a:avLst/>
          </a:prstGeom>
        </p:spPr>
        <p:txBody>
          <a:bodyPr wrap="square" lIns="0" tIns="0" rIns="0" bIns="0" rtlCol="0" anchor="t">
            <a:spAutoFit/>
          </a:bodyPr>
          <a:lstStyle/>
          <a:p>
            <a:pPr lvl="0" algn="ctr">
              <a:lnSpc>
                <a:spcPts val="7000"/>
              </a:lnSpc>
              <a:spcBef>
                <a:spcPct val="0"/>
              </a:spcBef>
            </a:pPr>
            <a:r>
              <a:rPr lang="en-US" sz="5000" dirty="0" smtClean="0">
                <a:solidFill>
                  <a:srgbClr val="002060"/>
                </a:solidFill>
                <a:latin typeface="Arial" panose="020B0604020202020204" pitchFamily="34" charset="0"/>
                <a:cs typeface="Arial" panose="020B0604020202020204" pitchFamily="34" charset="0"/>
              </a:rPr>
              <a:t>Mở </a:t>
            </a:r>
            <a:r>
              <a:rPr lang="vi-VN" sz="5000" dirty="0" smtClean="0">
                <a:solidFill>
                  <a:srgbClr val="002060"/>
                </a:solidFill>
                <a:latin typeface="Arial" panose="020B0604020202020204" pitchFamily="34" charset="0"/>
                <a:cs typeface="Arial" panose="020B0604020202020204" pitchFamily="34" charset="0"/>
              </a:rPr>
              <a:t>ra </a:t>
            </a:r>
            <a:r>
              <a:rPr lang="vi-VN" sz="5000" dirty="0">
                <a:solidFill>
                  <a:srgbClr val="002060"/>
                </a:solidFill>
                <a:latin typeface="Arial" panose="020B0604020202020204" pitchFamily="34" charset="0"/>
                <a:cs typeface="Arial" panose="020B0604020202020204" pitchFamily="34" charset="0"/>
              </a:rPr>
              <a:t>thời kì dựng nước đầu tiên trong lịch sử dân </a:t>
            </a:r>
            <a:r>
              <a:rPr lang="vi-VN" sz="5000" dirty="0" smtClean="0">
                <a:solidFill>
                  <a:srgbClr val="002060"/>
                </a:solidFill>
                <a:latin typeface="Arial" panose="020B0604020202020204" pitchFamily="34" charset="0"/>
                <a:cs typeface="Arial" panose="020B0604020202020204" pitchFamily="34" charset="0"/>
              </a:rPr>
              <a:t>tộc</a:t>
            </a:r>
            <a:endParaRPr lang="vi-VN" sz="5000" dirty="0">
              <a:solidFill>
                <a:srgbClr val="002060"/>
              </a:solidFill>
              <a:latin typeface="Arial" panose="020B0604020202020204" pitchFamily="34" charset="0"/>
              <a:cs typeface="Arial" panose="020B0604020202020204" pitchFamily="34" charset="0"/>
            </a:endParaRPr>
          </a:p>
        </p:txBody>
      </p:sp>
      <p:sp>
        <p:nvSpPr>
          <p:cNvPr id="10" name="TextBox 10"/>
          <p:cNvSpPr txBox="1"/>
          <p:nvPr/>
        </p:nvSpPr>
        <p:spPr>
          <a:xfrm rot="-60200">
            <a:off x="6141024" y="6175223"/>
            <a:ext cx="11901565" cy="1795145"/>
          </a:xfrm>
          <a:prstGeom prst="rect">
            <a:avLst/>
          </a:prstGeom>
        </p:spPr>
        <p:txBody>
          <a:bodyPr wrap="square" lIns="0" tIns="0" rIns="0" bIns="0" rtlCol="0" anchor="t">
            <a:spAutoFit/>
          </a:bodyPr>
          <a:lstStyle/>
          <a:p>
            <a:pPr lvl="0" algn="ctr">
              <a:lnSpc>
                <a:spcPts val="7000"/>
              </a:lnSpc>
              <a:spcBef>
                <a:spcPct val="0"/>
              </a:spcBef>
            </a:pPr>
            <a:r>
              <a:rPr lang="nl-NL" sz="5000" dirty="0" smtClean="0">
                <a:solidFill>
                  <a:srgbClr val="002060"/>
                </a:solidFill>
                <a:latin typeface="Arial" panose="020B0604020202020204" pitchFamily="34" charset="0"/>
                <a:ea typeface="Calibri" panose="020F0502020204030204" charset="0"/>
                <a:cs typeface="Arial" panose="020B0604020202020204" pitchFamily="34" charset="0"/>
              </a:rPr>
              <a:t>Kết thúc </a:t>
            </a:r>
            <a:r>
              <a:rPr lang="nl-NL" sz="5000" dirty="0">
                <a:solidFill>
                  <a:srgbClr val="002060"/>
                </a:solidFill>
                <a:latin typeface="Arial" panose="020B0604020202020204" pitchFamily="34" charset="0"/>
                <a:ea typeface="Calibri" panose="020F0502020204030204" charset="0"/>
                <a:cs typeface="Arial" panose="020B0604020202020204" pitchFamily="34" charset="0"/>
              </a:rPr>
              <a:t>thời kì nguyên thủy trên đất nước Việt </a:t>
            </a:r>
            <a:r>
              <a:rPr lang="nl-NL" sz="5000" dirty="0" smtClean="0">
                <a:solidFill>
                  <a:srgbClr val="002060"/>
                </a:solidFill>
                <a:latin typeface="Arial" panose="020B0604020202020204" pitchFamily="34" charset="0"/>
                <a:ea typeface="Calibri" panose="020F0502020204030204" charset="0"/>
                <a:cs typeface="Arial" panose="020B0604020202020204" pitchFamily="34" charset="0"/>
              </a:rPr>
              <a:t>Nam</a:t>
            </a:r>
            <a:endParaRPr lang="en-US" sz="5000" dirty="0">
              <a:solidFill>
                <a:srgbClr val="002060"/>
              </a:solidFill>
              <a:latin typeface="Public Sans"/>
            </a:endParaRPr>
          </a:p>
        </p:txBody>
      </p:sp>
      <p:pic>
        <p:nvPicPr>
          <p:cNvPr id="8" name="Picture 41"/>
          <p:cNvPicPr>
            <a:picLocks noChangeAspect="1"/>
          </p:cNvPicPr>
          <p:nvPr/>
        </p:nvPicPr>
        <p:blipFill>
          <a:blip/>
          <a:srcRect/>
          <a:stretch>
            <a:fillRect/>
          </a:stretch>
        </p:blipFill>
        <p:spPr>
          <a:xfrm>
            <a:off x="663864" y="4838700"/>
            <a:ext cx="4780612" cy="4572000"/>
          </a:xfrm>
          <a:prstGeom prst="rect">
            <a:avLst/>
          </a:prstGeom>
        </p:spPr>
      </p:pic>
      <p:grpSp>
        <p:nvGrpSpPr>
          <p:cNvPr id="9" name="Google Shape;448;p23"/>
          <p:cNvGrpSpPr/>
          <p:nvPr/>
        </p:nvGrpSpPr>
        <p:grpSpPr>
          <a:xfrm>
            <a:off x="13182600" y="2421385"/>
            <a:ext cx="2743200" cy="1883915"/>
            <a:chOff x="4368" y="4500332"/>
            <a:chExt cx="1550979" cy="1347924"/>
          </a:xfrm>
          <a:solidFill>
            <a:schemeClr val="accent5">
              <a:lumMod val="50000"/>
            </a:schemeClr>
          </a:solidFill>
        </p:grpSpPr>
        <p:grpSp>
          <p:nvGrpSpPr>
            <p:cNvPr id="11" name="Google Shape;449;p23"/>
            <p:cNvGrpSpPr/>
            <p:nvPr/>
          </p:nvGrpSpPr>
          <p:grpSpPr>
            <a:xfrm>
              <a:off x="4368" y="4500332"/>
              <a:ext cx="1507264" cy="1347924"/>
              <a:chOff x="4368" y="4500332"/>
              <a:chExt cx="1507264" cy="1347924"/>
            </a:xfrm>
            <a:grpFill/>
          </p:grpSpPr>
          <p:sp>
            <p:nvSpPr>
              <p:cNvPr id="14" name="Google Shape;450;p23"/>
              <p:cNvSpPr/>
              <p:nvPr/>
            </p:nvSpPr>
            <p:spPr>
              <a:xfrm>
                <a:off x="4368" y="4500332"/>
                <a:ext cx="1507264" cy="1347924"/>
              </a:xfrm>
              <a:custGeom>
                <a:avLst/>
                <a:gdLst/>
                <a:ahLst/>
                <a:cxnLst/>
                <a:rect l="l" t="t" r="r" b="b"/>
                <a:pathLst>
                  <a:path w="45547" h="40732" extrusionOk="0">
                    <a:moveTo>
                      <a:pt x="31515" y="965"/>
                    </a:moveTo>
                    <a:cubicBezTo>
                      <a:pt x="31734" y="965"/>
                      <a:pt x="31957" y="998"/>
                      <a:pt x="32179" y="1063"/>
                    </a:cubicBezTo>
                    <a:cubicBezTo>
                      <a:pt x="32185" y="1107"/>
                      <a:pt x="32199" y="1152"/>
                      <a:pt x="32222" y="1192"/>
                    </a:cubicBezTo>
                    <a:cubicBezTo>
                      <a:pt x="35043" y="6335"/>
                      <a:pt x="37777" y="12031"/>
                      <a:pt x="41673" y="16480"/>
                    </a:cubicBezTo>
                    <a:cubicBezTo>
                      <a:pt x="38633" y="16685"/>
                      <a:pt x="35775" y="17685"/>
                      <a:pt x="33101" y="19137"/>
                    </a:cubicBezTo>
                    <a:cubicBezTo>
                      <a:pt x="31463" y="20027"/>
                      <a:pt x="29739" y="21023"/>
                      <a:pt x="28469" y="22406"/>
                    </a:cubicBezTo>
                    <a:cubicBezTo>
                      <a:pt x="30868" y="18808"/>
                      <a:pt x="34672" y="16687"/>
                      <a:pt x="39172" y="16342"/>
                    </a:cubicBezTo>
                    <a:cubicBezTo>
                      <a:pt x="39379" y="16325"/>
                      <a:pt x="39474" y="16141"/>
                      <a:pt x="39465" y="15962"/>
                    </a:cubicBezTo>
                    <a:cubicBezTo>
                      <a:pt x="39593" y="15840"/>
                      <a:pt x="39639" y="15610"/>
                      <a:pt x="39466" y="15457"/>
                    </a:cubicBezTo>
                    <a:cubicBezTo>
                      <a:pt x="35193" y="11657"/>
                      <a:pt x="33190" y="6237"/>
                      <a:pt x="30001" y="1622"/>
                    </a:cubicBezTo>
                    <a:cubicBezTo>
                      <a:pt x="30419" y="1181"/>
                      <a:pt x="30954" y="965"/>
                      <a:pt x="31515" y="965"/>
                    </a:cubicBezTo>
                    <a:close/>
                    <a:moveTo>
                      <a:pt x="28349" y="776"/>
                    </a:moveTo>
                    <a:cubicBezTo>
                      <a:pt x="28391" y="776"/>
                      <a:pt x="28433" y="776"/>
                      <a:pt x="28475" y="777"/>
                    </a:cubicBezTo>
                    <a:cubicBezTo>
                      <a:pt x="28489" y="821"/>
                      <a:pt x="28512" y="864"/>
                      <a:pt x="28541" y="902"/>
                    </a:cubicBezTo>
                    <a:cubicBezTo>
                      <a:pt x="32183" y="5619"/>
                      <a:pt x="34167" y="11629"/>
                      <a:pt x="38705" y="15633"/>
                    </a:cubicBezTo>
                    <a:cubicBezTo>
                      <a:pt x="33572" y="15768"/>
                      <a:pt x="28659" y="19324"/>
                      <a:pt x="26820" y="24089"/>
                    </a:cubicBezTo>
                    <a:cubicBezTo>
                      <a:pt x="23394" y="19191"/>
                      <a:pt x="19424" y="14552"/>
                      <a:pt x="15282" y="10249"/>
                    </a:cubicBezTo>
                    <a:cubicBezTo>
                      <a:pt x="16468" y="7534"/>
                      <a:pt x="17857" y="5070"/>
                      <a:pt x="20323" y="3298"/>
                    </a:cubicBezTo>
                    <a:cubicBezTo>
                      <a:pt x="22678" y="1605"/>
                      <a:pt x="25466" y="776"/>
                      <a:pt x="28349" y="776"/>
                    </a:cubicBezTo>
                    <a:close/>
                    <a:moveTo>
                      <a:pt x="12428" y="10408"/>
                    </a:moveTo>
                    <a:cubicBezTo>
                      <a:pt x="13219" y="10408"/>
                      <a:pt x="14002" y="10521"/>
                      <a:pt x="14754" y="10784"/>
                    </a:cubicBezTo>
                    <a:cubicBezTo>
                      <a:pt x="14765" y="10789"/>
                      <a:pt x="14775" y="10786"/>
                      <a:pt x="14788" y="10789"/>
                    </a:cubicBezTo>
                    <a:cubicBezTo>
                      <a:pt x="18852" y="15242"/>
                      <a:pt x="22638" y="19857"/>
                      <a:pt x="26406" y="24562"/>
                    </a:cubicBezTo>
                    <a:cubicBezTo>
                      <a:pt x="26343" y="24576"/>
                      <a:pt x="26282" y="24591"/>
                      <a:pt x="26219" y="24605"/>
                    </a:cubicBezTo>
                    <a:cubicBezTo>
                      <a:pt x="26184" y="24591"/>
                      <a:pt x="26145" y="24583"/>
                      <a:pt x="26103" y="24583"/>
                    </a:cubicBezTo>
                    <a:cubicBezTo>
                      <a:pt x="26050" y="24583"/>
                      <a:pt x="25994" y="24596"/>
                      <a:pt x="25934" y="24625"/>
                    </a:cubicBezTo>
                    <a:cubicBezTo>
                      <a:pt x="25869" y="24657"/>
                      <a:pt x="25803" y="24694"/>
                      <a:pt x="25737" y="24728"/>
                    </a:cubicBezTo>
                    <a:cubicBezTo>
                      <a:pt x="21350" y="25876"/>
                      <a:pt x="16177" y="28748"/>
                      <a:pt x="13976" y="32748"/>
                    </a:cubicBezTo>
                    <a:cubicBezTo>
                      <a:pt x="10130" y="27440"/>
                      <a:pt x="5574" y="22481"/>
                      <a:pt x="1244" y="17563"/>
                    </a:cubicBezTo>
                    <a:cubicBezTo>
                      <a:pt x="2343" y="14904"/>
                      <a:pt x="4198" y="13049"/>
                      <a:pt x="6828" y="11850"/>
                    </a:cubicBezTo>
                    <a:cubicBezTo>
                      <a:pt x="8529" y="11074"/>
                      <a:pt x="10503" y="10408"/>
                      <a:pt x="12428" y="10408"/>
                    </a:cubicBezTo>
                    <a:close/>
                    <a:moveTo>
                      <a:pt x="2611" y="20372"/>
                    </a:moveTo>
                    <a:cubicBezTo>
                      <a:pt x="6212" y="24677"/>
                      <a:pt x="9755" y="29093"/>
                      <a:pt x="13588" y="33164"/>
                    </a:cubicBezTo>
                    <a:cubicBezTo>
                      <a:pt x="13652" y="33232"/>
                      <a:pt x="13727" y="33260"/>
                      <a:pt x="13798" y="33260"/>
                    </a:cubicBezTo>
                    <a:cubicBezTo>
                      <a:pt x="13866" y="33260"/>
                      <a:pt x="13931" y="33234"/>
                      <a:pt x="13982" y="33191"/>
                    </a:cubicBezTo>
                    <a:cubicBezTo>
                      <a:pt x="14017" y="33209"/>
                      <a:pt x="14054" y="33219"/>
                      <a:pt x="14091" y="33219"/>
                    </a:cubicBezTo>
                    <a:cubicBezTo>
                      <a:pt x="14135" y="33219"/>
                      <a:pt x="14178" y="33205"/>
                      <a:pt x="14213" y="33173"/>
                    </a:cubicBezTo>
                    <a:cubicBezTo>
                      <a:pt x="15982" y="31588"/>
                      <a:pt x="17411" y="29805"/>
                      <a:pt x="19405" y="28454"/>
                    </a:cubicBezTo>
                    <a:cubicBezTo>
                      <a:pt x="20310" y="27846"/>
                      <a:pt x="21262" y="27310"/>
                      <a:pt x="22251" y="26850"/>
                    </a:cubicBezTo>
                    <a:lnTo>
                      <a:pt x="22251" y="26850"/>
                    </a:lnTo>
                    <a:cubicBezTo>
                      <a:pt x="18920" y="29286"/>
                      <a:pt x="16125" y="32614"/>
                      <a:pt x="14723" y="36427"/>
                    </a:cubicBezTo>
                    <a:cubicBezTo>
                      <a:pt x="12789" y="33886"/>
                      <a:pt x="10435" y="31591"/>
                      <a:pt x="8287" y="29229"/>
                    </a:cubicBezTo>
                    <a:cubicBezTo>
                      <a:pt x="6088" y="26807"/>
                      <a:pt x="3887" y="24389"/>
                      <a:pt x="1683" y="21972"/>
                    </a:cubicBezTo>
                    <a:cubicBezTo>
                      <a:pt x="1668" y="21958"/>
                      <a:pt x="1653" y="21946"/>
                      <a:pt x="1634" y="21935"/>
                    </a:cubicBezTo>
                    <a:cubicBezTo>
                      <a:pt x="1738" y="21617"/>
                      <a:pt x="1847" y="21312"/>
                      <a:pt x="2037" y="21027"/>
                    </a:cubicBezTo>
                    <a:cubicBezTo>
                      <a:pt x="2201" y="20779"/>
                      <a:pt x="2411" y="20583"/>
                      <a:pt x="2611" y="20372"/>
                    </a:cubicBezTo>
                    <a:close/>
                    <a:moveTo>
                      <a:pt x="34666" y="1238"/>
                    </a:moveTo>
                    <a:cubicBezTo>
                      <a:pt x="34672" y="1264"/>
                      <a:pt x="34681" y="1290"/>
                      <a:pt x="34694" y="1314"/>
                    </a:cubicBezTo>
                    <a:cubicBezTo>
                      <a:pt x="37866" y="6522"/>
                      <a:pt x="41019" y="11922"/>
                      <a:pt x="44768" y="16740"/>
                    </a:cubicBezTo>
                    <a:cubicBezTo>
                      <a:pt x="39396" y="18096"/>
                      <a:pt x="33847" y="20186"/>
                      <a:pt x="29381" y="23518"/>
                    </a:cubicBezTo>
                    <a:cubicBezTo>
                      <a:pt x="29350" y="23542"/>
                      <a:pt x="29325" y="23573"/>
                      <a:pt x="29313" y="23610"/>
                    </a:cubicBezTo>
                    <a:cubicBezTo>
                      <a:pt x="29131" y="23698"/>
                      <a:pt x="29021" y="23922"/>
                      <a:pt x="29186" y="24136"/>
                    </a:cubicBezTo>
                    <a:cubicBezTo>
                      <a:pt x="29653" y="24740"/>
                      <a:pt x="29382" y="25977"/>
                      <a:pt x="28920" y="26532"/>
                    </a:cubicBezTo>
                    <a:cubicBezTo>
                      <a:pt x="28681" y="26818"/>
                      <a:pt x="28433" y="26917"/>
                      <a:pt x="28179" y="26917"/>
                    </a:cubicBezTo>
                    <a:cubicBezTo>
                      <a:pt x="27644" y="26917"/>
                      <a:pt x="27083" y="26478"/>
                      <a:pt x="26530" y="26412"/>
                    </a:cubicBezTo>
                    <a:cubicBezTo>
                      <a:pt x="26522" y="26411"/>
                      <a:pt x="26513" y="26411"/>
                      <a:pt x="26505" y="26411"/>
                    </a:cubicBezTo>
                    <a:cubicBezTo>
                      <a:pt x="26454" y="26411"/>
                      <a:pt x="26405" y="26430"/>
                      <a:pt x="26368" y="26466"/>
                    </a:cubicBezTo>
                    <a:cubicBezTo>
                      <a:pt x="26331" y="26454"/>
                      <a:pt x="26293" y="26447"/>
                      <a:pt x="26253" y="26447"/>
                    </a:cubicBezTo>
                    <a:cubicBezTo>
                      <a:pt x="26180" y="26447"/>
                      <a:pt x="26103" y="26471"/>
                      <a:pt x="26029" y="26529"/>
                    </a:cubicBezTo>
                    <a:cubicBezTo>
                      <a:pt x="21517" y="30065"/>
                      <a:pt x="17289" y="34786"/>
                      <a:pt x="15022" y="40117"/>
                    </a:cubicBezTo>
                    <a:cubicBezTo>
                      <a:pt x="15020" y="40071"/>
                      <a:pt x="15005" y="40027"/>
                      <a:pt x="14977" y="39990"/>
                    </a:cubicBezTo>
                    <a:cubicBezTo>
                      <a:pt x="10752" y="34622"/>
                      <a:pt x="5549" y="29811"/>
                      <a:pt x="714" y="24997"/>
                    </a:cubicBezTo>
                    <a:cubicBezTo>
                      <a:pt x="680" y="24962"/>
                      <a:pt x="639" y="24934"/>
                      <a:pt x="593" y="24916"/>
                    </a:cubicBezTo>
                    <a:cubicBezTo>
                      <a:pt x="914" y="24271"/>
                      <a:pt x="1279" y="23703"/>
                      <a:pt x="1754" y="23155"/>
                    </a:cubicBezTo>
                    <a:cubicBezTo>
                      <a:pt x="3820" y="25421"/>
                      <a:pt x="5884" y="27688"/>
                      <a:pt x="7952" y="29955"/>
                    </a:cubicBezTo>
                    <a:cubicBezTo>
                      <a:pt x="10076" y="32283"/>
                      <a:pt x="12120" y="34810"/>
                      <a:pt x="14449" y="36936"/>
                    </a:cubicBezTo>
                    <a:cubicBezTo>
                      <a:pt x="14484" y="36966"/>
                      <a:pt x="14529" y="36988"/>
                      <a:pt x="14576" y="36993"/>
                    </a:cubicBezTo>
                    <a:cubicBezTo>
                      <a:pt x="14608" y="37088"/>
                      <a:pt x="14703" y="37145"/>
                      <a:pt x="14802" y="37145"/>
                    </a:cubicBezTo>
                    <a:cubicBezTo>
                      <a:pt x="14889" y="37145"/>
                      <a:pt x="14979" y="37101"/>
                      <a:pt x="15033" y="37002"/>
                    </a:cubicBezTo>
                    <a:cubicBezTo>
                      <a:pt x="17665" y="32052"/>
                      <a:pt x="20990" y="28108"/>
                      <a:pt x="25987" y="25463"/>
                    </a:cubicBezTo>
                    <a:cubicBezTo>
                      <a:pt x="26219" y="25394"/>
                      <a:pt x="26451" y="25326"/>
                      <a:pt x="26686" y="25264"/>
                    </a:cubicBezTo>
                    <a:cubicBezTo>
                      <a:pt x="26870" y="25215"/>
                      <a:pt x="26961" y="25071"/>
                      <a:pt x="26974" y="24922"/>
                    </a:cubicBezTo>
                    <a:cubicBezTo>
                      <a:pt x="27074" y="24908"/>
                      <a:pt x="27158" y="24844"/>
                      <a:pt x="27193" y="24751"/>
                    </a:cubicBezTo>
                    <a:cubicBezTo>
                      <a:pt x="27203" y="24732"/>
                      <a:pt x="27213" y="24714"/>
                      <a:pt x="27221" y="24695"/>
                    </a:cubicBezTo>
                    <a:cubicBezTo>
                      <a:pt x="27245" y="24704"/>
                      <a:pt x="27270" y="24710"/>
                      <a:pt x="27295" y="24710"/>
                    </a:cubicBezTo>
                    <a:cubicBezTo>
                      <a:pt x="27346" y="24710"/>
                      <a:pt x="27396" y="24689"/>
                      <a:pt x="27432" y="24637"/>
                    </a:cubicBezTo>
                    <a:cubicBezTo>
                      <a:pt x="30477" y="20206"/>
                      <a:pt x="36936" y="17446"/>
                      <a:pt x="42186" y="17215"/>
                    </a:cubicBezTo>
                    <a:cubicBezTo>
                      <a:pt x="42532" y="17200"/>
                      <a:pt x="42568" y="16828"/>
                      <a:pt x="42393" y="16609"/>
                    </a:cubicBezTo>
                    <a:cubicBezTo>
                      <a:pt x="42401" y="16540"/>
                      <a:pt x="42384" y="16471"/>
                      <a:pt x="42344" y="16414"/>
                    </a:cubicBezTo>
                    <a:cubicBezTo>
                      <a:pt x="39192" y="11631"/>
                      <a:pt x="36290" y="6787"/>
                      <a:pt x="33442" y="1826"/>
                    </a:cubicBezTo>
                    <a:cubicBezTo>
                      <a:pt x="33828" y="1588"/>
                      <a:pt x="34236" y="1379"/>
                      <a:pt x="34666" y="1238"/>
                    </a:cubicBezTo>
                    <a:close/>
                    <a:moveTo>
                      <a:pt x="28437" y="1"/>
                    </a:moveTo>
                    <a:cubicBezTo>
                      <a:pt x="22427" y="1"/>
                      <a:pt x="16158" y="3857"/>
                      <a:pt x="14801" y="9989"/>
                    </a:cubicBezTo>
                    <a:cubicBezTo>
                      <a:pt x="13986" y="9734"/>
                      <a:pt x="13104" y="9613"/>
                      <a:pt x="12193" y="9613"/>
                    </a:cubicBezTo>
                    <a:cubicBezTo>
                      <a:pt x="7406" y="9613"/>
                      <a:pt x="1802" y="12929"/>
                      <a:pt x="712" y="17384"/>
                    </a:cubicBezTo>
                    <a:cubicBezTo>
                      <a:pt x="509" y="17482"/>
                      <a:pt x="381" y="17736"/>
                      <a:pt x="571" y="17958"/>
                    </a:cubicBezTo>
                    <a:cubicBezTo>
                      <a:pt x="1115" y="18594"/>
                      <a:pt x="1657" y="19232"/>
                      <a:pt x="2196" y="19875"/>
                    </a:cubicBezTo>
                    <a:cubicBezTo>
                      <a:pt x="1558" y="20326"/>
                      <a:pt x="1109" y="21162"/>
                      <a:pt x="991" y="21909"/>
                    </a:cubicBezTo>
                    <a:cubicBezTo>
                      <a:pt x="979" y="21978"/>
                      <a:pt x="996" y="22050"/>
                      <a:pt x="1038" y="22107"/>
                    </a:cubicBezTo>
                    <a:cubicBezTo>
                      <a:pt x="1000" y="22211"/>
                      <a:pt x="1005" y="22331"/>
                      <a:pt x="1106" y="22441"/>
                    </a:cubicBezTo>
                    <a:lnTo>
                      <a:pt x="1349" y="22709"/>
                    </a:lnTo>
                    <a:cubicBezTo>
                      <a:pt x="737" y="23314"/>
                      <a:pt x="244" y="24090"/>
                      <a:pt x="23" y="24927"/>
                    </a:cubicBezTo>
                    <a:cubicBezTo>
                      <a:pt x="0" y="25006"/>
                      <a:pt x="17" y="25094"/>
                      <a:pt x="69" y="25159"/>
                    </a:cubicBezTo>
                    <a:cubicBezTo>
                      <a:pt x="41" y="25254"/>
                      <a:pt x="57" y="25359"/>
                      <a:pt x="153" y="25454"/>
                    </a:cubicBezTo>
                    <a:cubicBezTo>
                      <a:pt x="5065" y="30310"/>
                      <a:pt x="9608" y="35625"/>
                      <a:pt x="14650" y="40336"/>
                    </a:cubicBezTo>
                    <a:cubicBezTo>
                      <a:pt x="14692" y="40376"/>
                      <a:pt x="14737" y="40392"/>
                      <a:pt x="14781" y="40392"/>
                    </a:cubicBezTo>
                    <a:cubicBezTo>
                      <a:pt x="14834" y="40392"/>
                      <a:pt x="14886" y="40368"/>
                      <a:pt x="14928" y="40331"/>
                    </a:cubicBezTo>
                    <a:lnTo>
                      <a:pt x="14928" y="40331"/>
                    </a:lnTo>
                    <a:cubicBezTo>
                      <a:pt x="14918" y="40356"/>
                      <a:pt x="14905" y="40380"/>
                      <a:pt x="14895" y="40405"/>
                    </a:cubicBezTo>
                    <a:cubicBezTo>
                      <a:pt x="14826" y="40575"/>
                      <a:pt x="14987" y="40731"/>
                      <a:pt x="15139" y="40731"/>
                    </a:cubicBezTo>
                    <a:cubicBezTo>
                      <a:pt x="15205" y="40731"/>
                      <a:pt x="15270" y="40701"/>
                      <a:pt x="15313" y="40630"/>
                    </a:cubicBezTo>
                    <a:cubicBezTo>
                      <a:pt x="18420" y="35443"/>
                      <a:pt x="21713" y="30906"/>
                      <a:pt x="26506" y="27115"/>
                    </a:cubicBezTo>
                    <a:cubicBezTo>
                      <a:pt x="26526" y="27100"/>
                      <a:pt x="26543" y="27083"/>
                      <a:pt x="26559" y="27065"/>
                    </a:cubicBezTo>
                    <a:cubicBezTo>
                      <a:pt x="26937" y="27428"/>
                      <a:pt x="27484" y="27618"/>
                      <a:pt x="28023" y="27618"/>
                    </a:cubicBezTo>
                    <a:cubicBezTo>
                      <a:pt x="28564" y="27618"/>
                      <a:pt x="29097" y="27426"/>
                      <a:pt x="29442" y="27026"/>
                    </a:cubicBezTo>
                    <a:cubicBezTo>
                      <a:pt x="30084" y="26281"/>
                      <a:pt x="30483" y="24677"/>
                      <a:pt x="29842" y="23812"/>
                    </a:cubicBezTo>
                    <a:cubicBezTo>
                      <a:pt x="34813" y="21147"/>
                      <a:pt x="39638" y="18771"/>
                      <a:pt x="45165" y="17413"/>
                    </a:cubicBezTo>
                    <a:cubicBezTo>
                      <a:pt x="45546" y="17319"/>
                      <a:pt x="45534" y="16806"/>
                      <a:pt x="45262" y="16685"/>
                    </a:cubicBezTo>
                    <a:cubicBezTo>
                      <a:pt x="45280" y="16627"/>
                      <a:pt x="45271" y="16564"/>
                      <a:pt x="45239" y="16514"/>
                    </a:cubicBezTo>
                    <a:cubicBezTo>
                      <a:pt x="42082" y="11268"/>
                      <a:pt x="38506" y="6266"/>
                      <a:pt x="35322" y="1031"/>
                    </a:cubicBezTo>
                    <a:cubicBezTo>
                      <a:pt x="35266" y="939"/>
                      <a:pt x="35173" y="876"/>
                      <a:pt x="35067" y="862"/>
                    </a:cubicBezTo>
                    <a:cubicBezTo>
                      <a:pt x="35063" y="711"/>
                      <a:pt x="34975" y="566"/>
                      <a:pt x="34816" y="566"/>
                    </a:cubicBezTo>
                    <a:cubicBezTo>
                      <a:pt x="34789" y="566"/>
                      <a:pt x="34760" y="570"/>
                      <a:pt x="34729" y="579"/>
                    </a:cubicBezTo>
                    <a:cubicBezTo>
                      <a:pt x="34153" y="749"/>
                      <a:pt x="33640" y="1011"/>
                      <a:pt x="33203" y="1412"/>
                    </a:cubicBezTo>
                    <a:cubicBezTo>
                      <a:pt x="33102" y="1236"/>
                      <a:pt x="33001" y="1060"/>
                      <a:pt x="32900" y="884"/>
                    </a:cubicBezTo>
                    <a:cubicBezTo>
                      <a:pt x="32885" y="858"/>
                      <a:pt x="32868" y="835"/>
                      <a:pt x="32850" y="813"/>
                    </a:cubicBezTo>
                    <a:cubicBezTo>
                      <a:pt x="32863" y="703"/>
                      <a:pt x="32828" y="591"/>
                      <a:pt x="32706" y="524"/>
                    </a:cubicBezTo>
                    <a:cubicBezTo>
                      <a:pt x="32362" y="334"/>
                      <a:pt x="31977" y="243"/>
                      <a:pt x="31592" y="243"/>
                    </a:cubicBezTo>
                    <a:cubicBezTo>
                      <a:pt x="30859" y="243"/>
                      <a:pt x="30126" y="573"/>
                      <a:pt x="29688" y="1176"/>
                    </a:cubicBezTo>
                    <a:cubicBezTo>
                      <a:pt x="29506" y="922"/>
                      <a:pt x="29322" y="669"/>
                      <a:pt x="29132" y="421"/>
                    </a:cubicBezTo>
                    <a:cubicBezTo>
                      <a:pt x="29083" y="354"/>
                      <a:pt x="29013" y="306"/>
                      <a:pt x="28933" y="286"/>
                    </a:cubicBezTo>
                    <a:cubicBezTo>
                      <a:pt x="28910" y="133"/>
                      <a:pt x="28803" y="3"/>
                      <a:pt x="28599" y="2"/>
                    </a:cubicBezTo>
                    <a:cubicBezTo>
                      <a:pt x="28545" y="1"/>
                      <a:pt x="28491" y="1"/>
                      <a:pt x="28437" y="1"/>
                    </a:cubicBezTo>
                    <a:close/>
                  </a:path>
                </a:pathLst>
              </a:custGeom>
              <a:grpFill/>
              <a:ln>
                <a:noFill/>
              </a:ln>
            </p:spPr>
            <p:txBody>
              <a:bodyPr spcFirstLastPara="1" wrap="square" lIns="182850" tIns="182850" rIns="182850" bIns="182850" anchor="ctr" anchorCtr="0">
                <a:noAutofit/>
              </a:bodyPr>
              <a:lstStyle/>
              <a:p>
                <a:endParaRPr sz="3600"/>
              </a:p>
            </p:txBody>
          </p:sp>
          <p:sp>
            <p:nvSpPr>
              <p:cNvPr id="15" name="Google Shape;451;p23"/>
              <p:cNvSpPr/>
              <p:nvPr/>
            </p:nvSpPr>
            <p:spPr>
              <a:xfrm>
                <a:off x="454890" y="5262949"/>
                <a:ext cx="305477" cy="214175"/>
              </a:xfrm>
              <a:custGeom>
                <a:avLst/>
                <a:gdLst/>
                <a:ahLst/>
                <a:cxnLst/>
                <a:rect l="l" t="t" r="r" b="b"/>
                <a:pathLst>
                  <a:path w="9231" h="6472" extrusionOk="0">
                    <a:moveTo>
                      <a:pt x="8889" y="1"/>
                    </a:moveTo>
                    <a:cubicBezTo>
                      <a:pt x="8886" y="1"/>
                      <a:pt x="8883" y="1"/>
                      <a:pt x="8881" y="1"/>
                    </a:cubicBezTo>
                    <a:cubicBezTo>
                      <a:pt x="5016" y="123"/>
                      <a:pt x="1414" y="2612"/>
                      <a:pt x="51" y="6248"/>
                    </a:cubicBezTo>
                    <a:cubicBezTo>
                      <a:pt x="1" y="6381"/>
                      <a:pt x="104" y="6472"/>
                      <a:pt x="211" y="6472"/>
                    </a:cubicBezTo>
                    <a:cubicBezTo>
                      <a:pt x="273" y="6472"/>
                      <a:pt x="337" y="6441"/>
                      <a:pt x="373" y="6369"/>
                    </a:cubicBezTo>
                    <a:cubicBezTo>
                      <a:pt x="2066" y="2961"/>
                      <a:pt x="5111" y="886"/>
                      <a:pt x="8903" y="586"/>
                    </a:cubicBezTo>
                    <a:cubicBezTo>
                      <a:pt x="9230" y="560"/>
                      <a:pt x="9216" y="1"/>
                      <a:pt x="8889" y="1"/>
                    </a:cubicBezTo>
                    <a:close/>
                  </a:path>
                </a:pathLst>
              </a:custGeom>
              <a:grpFill/>
              <a:ln>
                <a:noFill/>
              </a:ln>
            </p:spPr>
            <p:txBody>
              <a:bodyPr spcFirstLastPara="1" wrap="square" lIns="182850" tIns="182850" rIns="182850" bIns="182850" anchor="ctr" anchorCtr="0">
                <a:noAutofit/>
              </a:bodyPr>
              <a:lstStyle/>
              <a:p>
                <a:endParaRPr sz="3600"/>
              </a:p>
            </p:txBody>
          </p:sp>
          <p:sp>
            <p:nvSpPr>
              <p:cNvPr id="16" name="Google Shape;452;p23"/>
              <p:cNvSpPr/>
              <p:nvPr/>
            </p:nvSpPr>
            <p:spPr>
              <a:xfrm>
                <a:off x="384105" y="5156755"/>
                <a:ext cx="306900" cy="223209"/>
              </a:xfrm>
              <a:custGeom>
                <a:avLst/>
                <a:gdLst/>
                <a:ahLst/>
                <a:cxnLst/>
                <a:rect l="l" t="t" r="r" b="b"/>
                <a:pathLst>
                  <a:path w="9274" h="6745" extrusionOk="0">
                    <a:moveTo>
                      <a:pt x="8838" y="1"/>
                    </a:moveTo>
                    <a:cubicBezTo>
                      <a:pt x="8814" y="1"/>
                      <a:pt x="8790" y="4"/>
                      <a:pt x="8763" y="9"/>
                    </a:cubicBezTo>
                    <a:cubicBezTo>
                      <a:pt x="5080" y="769"/>
                      <a:pt x="1744" y="3038"/>
                      <a:pt x="72" y="6465"/>
                    </a:cubicBezTo>
                    <a:cubicBezTo>
                      <a:pt x="0" y="6611"/>
                      <a:pt x="144" y="6744"/>
                      <a:pt x="281" y="6744"/>
                    </a:cubicBezTo>
                    <a:cubicBezTo>
                      <a:pt x="340" y="6744"/>
                      <a:pt x="398" y="6720"/>
                      <a:pt x="436" y="6661"/>
                    </a:cubicBezTo>
                    <a:cubicBezTo>
                      <a:pt x="2441" y="3577"/>
                      <a:pt x="5216" y="1387"/>
                      <a:pt x="8877" y="669"/>
                    </a:cubicBezTo>
                    <a:cubicBezTo>
                      <a:pt x="9274" y="591"/>
                      <a:pt x="9199" y="1"/>
                      <a:pt x="8838" y="1"/>
                    </a:cubicBezTo>
                    <a:close/>
                  </a:path>
                </a:pathLst>
              </a:custGeom>
              <a:grpFill/>
              <a:ln>
                <a:noFill/>
              </a:ln>
            </p:spPr>
            <p:txBody>
              <a:bodyPr spcFirstLastPara="1" wrap="square" lIns="182850" tIns="182850" rIns="182850" bIns="182850" anchor="ctr" anchorCtr="0">
                <a:noAutofit/>
              </a:bodyPr>
              <a:lstStyle/>
              <a:p>
                <a:endParaRPr sz="3600"/>
              </a:p>
            </p:txBody>
          </p:sp>
          <p:sp>
            <p:nvSpPr>
              <p:cNvPr id="17" name="Google Shape;453;p23"/>
              <p:cNvSpPr/>
              <p:nvPr/>
            </p:nvSpPr>
            <p:spPr>
              <a:xfrm>
                <a:off x="323910" y="5058404"/>
                <a:ext cx="287441" cy="225989"/>
              </a:xfrm>
              <a:custGeom>
                <a:avLst/>
                <a:gdLst/>
                <a:ahLst/>
                <a:cxnLst/>
                <a:rect l="l" t="t" r="r" b="b"/>
                <a:pathLst>
                  <a:path w="8686" h="6829" extrusionOk="0">
                    <a:moveTo>
                      <a:pt x="8294" y="1"/>
                    </a:moveTo>
                    <a:cubicBezTo>
                      <a:pt x="8268" y="1"/>
                      <a:pt x="8242" y="3"/>
                      <a:pt x="8213" y="10"/>
                    </a:cubicBezTo>
                    <a:cubicBezTo>
                      <a:pt x="4782" y="751"/>
                      <a:pt x="1382" y="3252"/>
                      <a:pt x="57" y="6566"/>
                    </a:cubicBezTo>
                    <a:cubicBezTo>
                      <a:pt x="1" y="6706"/>
                      <a:pt x="127" y="6828"/>
                      <a:pt x="251" y="6828"/>
                    </a:cubicBezTo>
                    <a:cubicBezTo>
                      <a:pt x="306" y="6828"/>
                      <a:pt x="360" y="6805"/>
                      <a:pt x="397" y="6749"/>
                    </a:cubicBezTo>
                    <a:cubicBezTo>
                      <a:pt x="2441" y="3724"/>
                      <a:pt x="4767" y="1682"/>
                      <a:pt x="8323" y="648"/>
                    </a:cubicBezTo>
                    <a:cubicBezTo>
                      <a:pt x="8686" y="543"/>
                      <a:pt x="8640" y="1"/>
                      <a:pt x="8294" y="1"/>
                    </a:cubicBezTo>
                    <a:close/>
                  </a:path>
                </a:pathLst>
              </a:custGeom>
              <a:grpFill/>
              <a:ln>
                <a:noFill/>
              </a:ln>
            </p:spPr>
            <p:txBody>
              <a:bodyPr spcFirstLastPara="1" wrap="square" lIns="182850" tIns="182850" rIns="182850" bIns="182850" anchor="ctr" anchorCtr="0">
                <a:noAutofit/>
              </a:bodyPr>
              <a:lstStyle/>
              <a:p>
                <a:endParaRPr sz="3600"/>
              </a:p>
            </p:txBody>
          </p:sp>
          <p:sp>
            <p:nvSpPr>
              <p:cNvPr id="18" name="Google Shape;454;p23"/>
              <p:cNvSpPr/>
              <p:nvPr/>
            </p:nvSpPr>
            <p:spPr>
              <a:xfrm>
                <a:off x="251239" y="4971867"/>
                <a:ext cx="284331" cy="227345"/>
              </a:xfrm>
              <a:custGeom>
                <a:avLst/>
                <a:gdLst/>
                <a:ahLst/>
                <a:cxnLst/>
                <a:rect l="l" t="t" r="r" b="b"/>
                <a:pathLst>
                  <a:path w="8592" h="6870" extrusionOk="0">
                    <a:moveTo>
                      <a:pt x="8135" y="1"/>
                    </a:moveTo>
                    <a:cubicBezTo>
                      <a:pt x="8051" y="1"/>
                      <a:pt x="7971" y="31"/>
                      <a:pt x="7908" y="85"/>
                    </a:cubicBezTo>
                    <a:cubicBezTo>
                      <a:pt x="7184" y="445"/>
                      <a:pt x="6177" y="523"/>
                      <a:pt x="5431" y="869"/>
                    </a:cubicBezTo>
                    <a:cubicBezTo>
                      <a:pt x="4620" y="1248"/>
                      <a:pt x="3859" y="1724"/>
                      <a:pt x="3163" y="2288"/>
                    </a:cubicBezTo>
                    <a:cubicBezTo>
                      <a:pt x="1756" y="3423"/>
                      <a:pt x="713" y="4882"/>
                      <a:pt x="69" y="6567"/>
                    </a:cubicBezTo>
                    <a:cubicBezTo>
                      <a:pt x="1" y="6747"/>
                      <a:pt x="140" y="6869"/>
                      <a:pt x="285" y="6869"/>
                    </a:cubicBezTo>
                    <a:cubicBezTo>
                      <a:pt x="370" y="6869"/>
                      <a:pt x="457" y="6827"/>
                      <a:pt x="506" y="6731"/>
                    </a:cubicBezTo>
                    <a:cubicBezTo>
                      <a:pt x="1481" y="4784"/>
                      <a:pt x="2900" y="3090"/>
                      <a:pt x="4800" y="1984"/>
                    </a:cubicBezTo>
                    <a:cubicBezTo>
                      <a:pt x="5536" y="1560"/>
                      <a:pt x="6320" y="1228"/>
                      <a:pt x="7138" y="998"/>
                    </a:cubicBezTo>
                    <a:cubicBezTo>
                      <a:pt x="7622" y="862"/>
                      <a:pt x="8081" y="888"/>
                      <a:pt x="8424" y="522"/>
                    </a:cubicBezTo>
                    <a:cubicBezTo>
                      <a:pt x="8591" y="341"/>
                      <a:pt x="8423" y="4"/>
                      <a:pt x="8188" y="1"/>
                    </a:cubicBezTo>
                    <a:lnTo>
                      <a:pt x="8141" y="1"/>
                    </a:lnTo>
                    <a:cubicBezTo>
                      <a:pt x="8139" y="1"/>
                      <a:pt x="8137" y="1"/>
                      <a:pt x="8135" y="1"/>
                    </a:cubicBezTo>
                    <a:close/>
                  </a:path>
                </a:pathLst>
              </a:custGeom>
              <a:grpFill/>
              <a:ln>
                <a:noFill/>
              </a:ln>
            </p:spPr>
            <p:txBody>
              <a:bodyPr spcFirstLastPara="1" wrap="square" lIns="182850" tIns="182850" rIns="182850" bIns="182850" anchor="ctr" anchorCtr="0">
                <a:noAutofit/>
              </a:bodyPr>
              <a:lstStyle/>
              <a:p>
                <a:endParaRPr sz="3600"/>
              </a:p>
            </p:txBody>
          </p:sp>
          <p:sp>
            <p:nvSpPr>
              <p:cNvPr id="19" name="Google Shape;455;p23"/>
              <p:cNvSpPr/>
              <p:nvPr/>
            </p:nvSpPr>
            <p:spPr>
              <a:xfrm>
                <a:off x="157223" y="4893206"/>
                <a:ext cx="328873" cy="206530"/>
              </a:xfrm>
              <a:custGeom>
                <a:avLst/>
                <a:gdLst/>
                <a:ahLst/>
                <a:cxnLst/>
                <a:rect l="l" t="t" r="r" b="b"/>
                <a:pathLst>
                  <a:path w="9938" h="6241" extrusionOk="0">
                    <a:moveTo>
                      <a:pt x="9460" y="1"/>
                    </a:moveTo>
                    <a:cubicBezTo>
                      <a:pt x="9440" y="1"/>
                      <a:pt x="9419" y="2"/>
                      <a:pt x="9398" y="6"/>
                    </a:cubicBezTo>
                    <a:cubicBezTo>
                      <a:pt x="5592" y="598"/>
                      <a:pt x="1854" y="2360"/>
                      <a:pt x="75" y="5954"/>
                    </a:cubicBezTo>
                    <a:cubicBezTo>
                      <a:pt x="1" y="6104"/>
                      <a:pt x="148" y="6240"/>
                      <a:pt x="288" y="6240"/>
                    </a:cubicBezTo>
                    <a:cubicBezTo>
                      <a:pt x="348" y="6240"/>
                      <a:pt x="407" y="6214"/>
                      <a:pt x="446" y="6153"/>
                    </a:cubicBezTo>
                    <a:cubicBezTo>
                      <a:pt x="2544" y="2899"/>
                      <a:pt x="5771" y="1292"/>
                      <a:pt x="9516" y="692"/>
                    </a:cubicBezTo>
                    <a:cubicBezTo>
                      <a:pt x="9938" y="625"/>
                      <a:pt x="9852" y="1"/>
                      <a:pt x="9460" y="1"/>
                    </a:cubicBezTo>
                    <a:close/>
                  </a:path>
                </a:pathLst>
              </a:custGeom>
              <a:grpFill/>
              <a:ln>
                <a:noFill/>
              </a:ln>
            </p:spPr>
            <p:txBody>
              <a:bodyPr spcFirstLastPara="1" wrap="square" lIns="182850" tIns="182850" rIns="182850" bIns="182850" anchor="ctr" anchorCtr="0">
                <a:noAutofit/>
              </a:bodyPr>
              <a:lstStyle/>
              <a:p>
                <a:endParaRPr sz="3600"/>
              </a:p>
            </p:txBody>
          </p:sp>
          <p:sp>
            <p:nvSpPr>
              <p:cNvPr id="20" name="Google Shape;456;p23"/>
              <p:cNvSpPr/>
              <p:nvPr/>
            </p:nvSpPr>
            <p:spPr>
              <a:xfrm>
                <a:off x="856798" y="4962469"/>
                <a:ext cx="304054" cy="210667"/>
              </a:xfrm>
              <a:custGeom>
                <a:avLst/>
                <a:gdLst/>
                <a:ahLst/>
                <a:cxnLst/>
                <a:rect l="l" t="t" r="r" b="b"/>
                <a:pathLst>
                  <a:path w="9188" h="6366" extrusionOk="0">
                    <a:moveTo>
                      <a:pt x="8737" y="0"/>
                    </a:moveTo>
                    <a:cubicBezTo>
                      <a:pt x="8720" y="0"/>
                      <a:pt x="8704" y="1"/>
                      <a:pt x="8686" y="3"/>
                    </a:cubicBezTo>
                    <a:cubicBezTo>
                      <a:pt x="5361" y="398"/>
                      <a:pt x="1228" y="2872"/>
                      <a:pt x="47" y="6149"/>
                    </a:cubicBezTo>
                    <a:cubicBezTo>
                      <a:pt x="1" y="6278"/>
                      <a:pt x="97" y="6366"/>
                      <a:pt x="201" y="6366"/>
                    </a:cubicBezTo>
                    <a:cubicBezTo>
                      <a:pt x="249" y="6366"/>
                      <a:pt x="298" y="6347"/>
                      <a:pt x="336" y="6306"/>
                    </a:cubicBezTo>
                    <a:cubicBezTo>
                      <a:pt x="1488" y="5065"/>
                      <a:pt x="2430" y="3734"/>
                      <a:pt x="3831" y="2740"/>
                    </a:cubicBezTo>
                    <a:cubicBezTo>
                      <a:pt x="5355" y="1659"/>
                      <a:pt x="7003" y="1104"/>
                      <a:pt x="8797" y="651"/>
                    </a:cubicBezTo>
                    <a:cubicBezTo>
                      <a:pt x="9188" y="551"/>
                      <a:pt x="9118" y="0"/>
                      <a:pt x="8737" y="0"/>
                    </a:cubicBezTo>
                    <a:close/>
                  </a:path>
                </a:pathLst>
              </a:custGeom>
              <a:grpFill/>
              <a:ln>
                <a:noFill/>
              </a:ln>
            </p:spPr>
            <p:txBody>
              <a:bodyPr spcFirstLastPara="1" wrap="square" lIns="182850" tIns="182850" rIns="182850" bIns="182850" anchor="ctr" anchorCtr="0">
                <a:noAutofit/>
              </a:bodyPr>
              <a:lstStyle/>
              <a:p>
                <a:endParaRPr sz="3600"/>
              </a:p>
            </p:txBody>
          </p:sp>
          <p:sp>
            <p:nvSpPr>
              <p:cNvPr id="21" name="Google Shape;457;p23"/>
              <p:cNvSpPr/>
              <p:nvPr/>
            </p:nvSpPr>
            <p:spPr>
              <a:xfrm>
                <a:off x="797894" y="4865475"/>
                <a:ext cx="315338" cy="236280"/>
              </a:xfrm>
              <a:custGeom>
                <a:avLst/>
                <a:gdLst/>
                <a:ahLst/>
                <a:cxnLst/>
                <a:rect l="l" t="t" r="r" b="b"/>
                <a:pathLst>
                  <a:path w="9529" h="7140" extrusionOk="0">
                    <a:moveTo>
                      <a:pt x="9009" y="1"/>
                    </a:moveTo>
                    <a:cubicBezTo>
                      <a:pt x="8996" y="1"/>
                      <a:pt x="8983" y="2"/>
                      <a:pt x="8970" y="3"/>
                    </a:cubicBezTo>
                    <a:cubicBezTo>
                      <a:pt x="5058" y="366"/>
                      <a:pt x="1220" y="3018"/>
                      <a:pt x="49" y="6872"/>
                    </a:cubicBezTo>
                    <a:cubicBezTo>
                      <a:pt x="1" y="7033"/>
                      <a:pt x="117" y="7139"/>
                      <a:pt x="240" y="7139"/>
                    </a:cubicBezTo>
                    <a:cubicBezTo>
                      <a:pt x="312" y="7139"/>
                      <a:pt x="387" y="7102"/>
                      <a:pt x="430" y="7016"/>
                    </a:cubicBezTo>
                    <a:cubicBezTo>
                      <a:pt x="2214" y="3504"/>
                      <a:pt x="5084" y="1122"/>
                      <a:pt x="9088" y="697"/>
                    </a:cubicBezTo>
                    <a:cubicBezTo>
                      <a:pt x="9528" y="650"/>
                      <a:pt x="9426" y="1"/>
                      <a:pt x="9009" y="1"/>
                    </a:cubicBezTo>
                    <a:close/>
                  </a:path>
                </a:pathLst>
              </a:custGeom>
              <a:grpFill/>
              <a:ln>
                <a:noFill/>
              </a:ln>
            </p:spPr>
            <p:txBody>
              <a:bodyPr spcFirstLastPara="1" wrap="square" lIns="182850" tIns="182850" rIns="182850" bIns="182850" anchor="ctr" anchorCtr="0">
                <a:noAutofit/>
              </a:bodyPr>
              <a:lstStyle/>
              <a:p>
                <a:endParaRPr sz="3600"/>
              </a:p>
            </p:txBody>
          </p:sp>
          <p:sp>
            <p:nvSpPr>
              <p:cNvPr id="22" name="Google Shape;458;p23"/>
              <p:cNvSpPr/>
              <p:nvPr/>
            </p:nvSpPr>
            <p:spPr>
              <a:xfrm>
                <a:off x="732437" y="4757031"/>
                <a:ext cx="309216" cy="243098"/>
              </a:xfrm>
              <a:custGeom>
                <a:avLst/>
                <a:gdLst/>
                <a:ahLst/>
                <a:cxnLst/>
                <a:rect l="l" t="t" r="r" b="b"/>
                <a:pathLst>
                  <a:path w="9344" h="7346" extrusionOk="0">
                    <a:moveTo>
                      <a:pt x="8861" y="1"/>
                    </a:moveTo>
                    <a:cubicBezTo>
                      <a:pt x="8851" y="1"/>
                      <a:pt x="8841" y="1"/>
                      <a:pt x="8830" y="2"/>
                    </a:cubicBezTo>
                    <a:cubicBezTo>
                      <a:pt x="4877" y="316"/>
                      <a:pt x="873" y="3101"/>
                      <a:pt x="28" y="7138"/>
                    </a:cubicBezTo>
                    <a:cubicBezTo>
                      <a:pt x="0" y="7272"/>
                      <a:pt x="106" y="7345"/>
                      <a:pt x="216" y="7345"/>
                    </a:cubicBezTo>
                    <a:cubicBezTo>
                      <a:pt x="295" y="7345"/>
                      <a:pt x="377" y="7307"/>
                      <a:pt x="412" y="7227"/>
                    </a:cubicBezTo>
                    <a:cubicBezTo>
                      <a:pt x="2031" y="3597"/>
                      <a:pt x="4822" y="961"/>
                      <a:pt x="8939" y="641"/>
                    </a:cubicBezTo>
                    <a:cubicBezTo>
                      <a:pt x="9343" y="609"/>
                      <a:pt x="9249" y="1"/>
                      <a:pt x="8861" y="1"/>
                    </a:cubicBezTo>
                    <a:close/>
                  </a:path>
                </a:pathLst>
              </a:custGeom>
              <a:grpFill/>
              <a:ln>
                <a:noFill/>
              </a:ln>
            </p:spPr>
            <p:txBody>
              <a:bodyPr spcFirstLastPara="1" wrap="square" lIns="182850" tIns="182850" rIns="182850" bIns="182850" anchor="ctr" anchorCtr="0">
                <a:noAutofit/>
              </a:bodyPr>
              <a:lstStyle/>
              <a:p>
                <a:endParaRPr sz="3600"/>
              </a:p>
            </p:txBody>
          </p:sp>
          <p:sp>
            <p:nvSpPr>
              <p:cNvPr id="23" name="Google Shape;459;p23"/>
              <p:cNvSpPr/>
              <p:nvPr/>
            </p:nvSpPr>
            <p:spPr>
              <a:xfrm>
                <a:off x="647422" y="4663743"/>
                <a:ext cx="319740" cy="244719"/>
              </a:xfrm>
              <a:custGeom>
                <a:avLst/>
                <a:gdLst/>
                <a:ahLst/>
                <a:cxnLst/>
                <a:rect l="l" t="t" r="r" b="b"/>
                <a:pathLst>
                  <a:path w="9662" h="7395" extrusionOk="0">
                    <a:moveTo>
                      <a:pt x="9162" y="0"/>
                    </a:moveTo>
                    <a:cubicBezTo>
                      <a:pt x="9152" y="0"/>
                      <a:pt x="9142" y="1"/>
                      <a:pt x="9132" y="1"/>
                    </a:cubicBezTo>
                    <a:cubicBezTo>
                      <a:pt x="4959" y="317"/>
                      <a:pt x="1872" y="3604"/>
                      <a:pt x="67" y="7154"/>
                    </a:cubicBezTo>
                    <a:cubicBezTo>
                      <a:pt x="0" y="7286"/>
                      <a:pt x="124" y="7395"/>
                      <a:pt x="245" y="7395"/>
                    </a:cubicBezTo>
                    <a:cubicBezTo>
                      <a:pt x="298" y="7395"/>
                      <a:pt x="349" y="7375"/>
                      <a:pt x="385" y="7327"/>
                    </a:cubicBezTo>
                    <a:cubicBezTo>
                      <a:pt x="2723" y="4229"/>
                      <a:pt x="5034" y="963"/>
                      <a:pt x="9244" y="659"/>
                    </a:cubicBezTo>
                    <a:cubicBezTo>
                      <a:pt x="9661" y="629"/>
                      <a:pt x="9563" y="0"/>
                      <a:pt x="9162" y="0"/>
                    </a:cubicBezTo>
                    <a:close/>
                  </a:path>
                </a:pathLst>
              </a:custGeom>
              <a:grpFill/>
              <a:ln>
                <a:noFill/>
              </a:ln>
            </p:spPr>
            <p:txBody>
              <a:bodyPr spcFirstLastPara="1" wrap="square" lIns="182850" tIns="182850" rIns="182850" bIns="182850" anchor="ctr" anchorCtr="0">
                <a:noAutofit/>
              </a:bodyPr>
              <a:lstStyle/>
              <a:p>
                <a:endParaRPr sz="3600"/>
              </a:p>
            </p:txBody>
          </p:sp>
          <p:sp>
            <p:nvSpPr>
              <p:cNvPr id="24" name="Google Shape;460;p23"/>
              <p:cNvSpPr/>
              <p:nvPr/>
            </p:nvSpPr>
            <p:spPr>
              <a:xfrm>
                <a:off x="585241" y="4582997"/>
                <a:ext cx="320335" cy="251768"/>
              </a:xfrm>
              <a:custGeom>
                <a:avLst/>
                <a:gdLst/>
                <a:ahLst/>
                <a:cxnLst/>
                <a:rect l="l" t="t" r="r" b="b"/>
                <a:pathLst>
                  <a:path w="9680" h="7608" extrusionOk="0">
                    <a:moveTo>
                      <a:pt x="9301" y="1"/>
                    </a:moveTo>
                    <a:cubicBezTo>
                      <a:pt x="9271" y="1"/>
                      <a:pt x="9238" y="5"/>
                      <a:pt x="9204" y="15"/>
                    </a:cubicBezTo>
                    <a:cubicBezTo>
                      <a:pt x="5334" y="1121"/>
                      <a:pt x="1872" y="3705"/>
                      <a:pt x="68" y="7350"/>
                    </a:cubicBezTo>
                    <a:cubicBezTo>
                      <a:pt x="1" y="7487"/>
                      <a:pt x="133" y="7608"/>
                      <a:pt x="260" y="7608"/>
                    </a:cubicBezTo>
                    <a:cubicBezTo>
                      <a:pt x="316" y="7608"/>
                      <a:pt x="370" y="7585"/>
                      <a:pt x="406" y="7531"/>
                    </a:cubicBezTo>
                    <a:cubicBezTo>
                      <a:pt x="2627" y="4241"/>
                      <a:pt x="5479" y="1836"/>
                      <a:pt x="9314" y="666"/>
                    </a:cubicBezTo>
                    <a:cubicBezTo>
                      <a:pt x="9679" y="554"/>
                      <a:pt x="9629" y="1"/>
                      <a:pt x="9301" y="1"/>
                    </a:cubicBezTo>
                    <a:close/>
                  </a:path>
                </a:pathLst>
              </a:custGeom>
              <a:grpFill/>
              <a:ln>
                <a:noFill/>
              </a:ln>
            </p:spPr>
            <p:txBody>
              <a:bodyPr spcFirstLastPara="1" wrap="square" lIns="182850" tIns="182850" rIns="182850" bIns="182850" anchor="ctr" anchorCtr="0">
                <a:noAutofit/>
              </a:bodyPr>
              <a:lstStyle/>
              <a:p>
                <a:endParaRPr sz="3600"/>
              </a:p>
            </p:txBody>
          </p:sp>
        </p:grpSp>
        <p:sp>
          <p:nvSpPr>
            <p:cNvPr id="12" name="Google Shape;461;p23"/>
            <p:cNvSpPr/>
            <p:nvPr/>
          </p:nvSpPr>
          <p:spPr>
            <a:xfrm>
              <a:off x="1364603" y="5136171"/>
              <a:ext cx="119166" cy="46296"/>
            </a:xfrm>
            <a:custGeom>
              <a:avLst/>
              <a:gdLst/>
              <a:ahLst/>
              <a:cxnLst/>
              <a:rect l="l" t="t" r="r" b="b"/>
              <a:pathLst>
                <a:path w="3601" h="1399" extrusionOk="0">
                  <a:moveTo>
                    <a:pt x="3358" y="0"/>
                  </a:moveTo>
                  <a:cubicBezTo>
                    <a:pt x="3340" y="0"/>
                    <a:pt x="3320" y="4"/>
                    <a:pt x="3300" y="12"/>
                  </a:cubicBezTo>
                  <a:cubicBezTo>
                    <a:pt x="2275" y="421"/>
                    <a:pt x="1274" y="804"/>
                    <a:pt x="200" y="1066"/>
                  </a:cubicBezTo>
                  <a:cubicBezTo>
                    <a:pt x="0" y="1113"/>
                    <a:pt x="66" y="1399"/>
                    <a:pt x="248" y="1399"/>
                  </a:cubicBezTo>
                  <a:cubicBezTo>
                    <a:pt x="261" y="1399"/>
                    <a:pt x="276" y="1397"/>
                    <a:pt x="290" y="1394"/>
                  </a:cubicBezTo>
                  <a:cubicBezTo>
                    <a:pt x="1364" y="1149"/>
                    <a:pt x="2447" y="830"/>
                    <a:pt x="3439" y="344"/>
                  </a:cubicBezTo>
                  <a:cubicBezTo>
                    <a:pt x="3601" y="264"/>
                    <a:pt x="3515" y="0"/>
                    <a:pt x="3358" y="0"/>
                  </a:cubicBezTo>
                  <a:close/>
                </a:path>
              </a:pathLst>
            </a:custGeom>
            <a:grpFill/>
            <a:ln>
              <a:noFill/>
            </a:ln>
          </p:spPr>
          <p:txBody>
            <a:bodyPr spcFirstLastPara="1" wrap="square" lIns="182850" tIns="182850" rIns="182850" bIns="182850" anchor="ctr" anchorCtr="0">
              <a:noAutofit/>
            </a:bodyPr>
            <a:lstStyle/>
            <a:p>
              <a:endParaRPr sz="3600"/>
            </a:p>
          </p:txBody>
        </p:sp>
        <p:sp>
          <p:nvSpPr>
            <p:cNvPr id="13" name="Google Shape;462;p23"/>
            <p:cNvSpPr/>
            <p:nvPr/>
          </p:nvSpPr>
          <p:spPr>
            <a:xfrm>
              <a:off x="1437505" y="5176610"/>
              <a:ext cx="117842" cy="27599"/>
            </a:xfrm>
            <a:custGeom>
              <a:avLst/>
              <a:gdLst/>
              <a:ahLst/>
              <a:cxnLst/>
              <a:rect l="l" t="t" r="r" b="b"/>
              <a:pathLst>
                <a:path w="3561" h="834" extrusionOk="0">
                  <a:moveTo>
                    <a:pt x="3329" y="1"/>
                  </a:moveTo>
                  <a:cubicBezTo>
                    <a:pt x="3311" y="1"/>
                    <a:pt x="3291" y="4"/>
                    <a:pt x="3270" y="11"/>
                  </a:cubicBezTo>
                  <a:cubicBezTo>
                    <a:pt x="2261" y="346"/>
                    <a:pt x="1258" y="522"/>
                    <a:pt x="193" y="528"/>
                  </a:cubicBezTo>
                  <a:cubicBezTo>
                    <a:pt x="0" y="530"/>
                    <a:pt x="2" y="819"/>
                    <a:pt x="193" y="827"/>
                  </a:cubicBezTo>
                  <a:cubicBezTo>
                    <a:pt x="305" y="831"/>
                    <a:pt x="417" y="834"/>
                    <a:pt x="529" y="834"/>
                  </a:cubicBezTo>
                  <a:cubicBezTo>
                    <a:pt x="1493" y="834"/>
                    <a:pt x="2453" y="674"/>
                    <a:pt x="3365" y="358"/>
                  </a:cubicBezTo>
                  <a:cubicBezTo>
                    <a:pt x="3561" y="289"/>
                    <a:pt x="3505" y="1"/>
                    <a:pt x="3329" y="1"/>
                  </a:cubicBezTo>
                  <a:close/>
                </a:path>
              </a:pathLst>
            </a:custGeom>
            <a:grpFill/>
            <a:ln>
              <a:noFill/>
            </a:ln>
          </p:spPr>
          <p:txBody>
            <a:bodyPr spcFirstLastPara="1" wrap="square" lIns="182850" tIns="182850" rIns="182850" bIns="182850" anchor="ctr" anchorCtr="0">
              <a:noAutofit/>
            </a:bodyPr>
            <a:lstStyle/>
            <a:p>
              <a:endParaRPr sz="360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par>
                                <p:cTn id="8" presetID="16" presetClass="entr" presetSubtype="21"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barn(inVertical)">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barn(inVertical)">
                                      <p:cBhvr>
                                        <p:cTn id="15" dur="5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nodeType="clickEffect">
                                  <p:stCondLst>
                                    <p:cond delay="0"/>
                                  </p:stCondLst>
                                  <p:childTnLst>
                                    <p:set>
                                      <p:cBhvr>
                                        <p:cTn id="19" dur="1" fill="hold">
                                          <p:stCondLst>
                                            <p:cond delay="0"/>
                                          </p:stCondLst>
                                        </p:cTn>
                                        <p:tgtEl>
                                          <p:spTgt spid="10">
                                            <p:txEl>
                                              <p:pRg st="0" end="0"/>
                                            </p:txEl>
                                          </p:spTgt>
                                        </p:tgtEl>
                                        <p:attrNameLst>
                                          <p:attrName>style.visibility</p:attrName>
                                        </p:attrNameLst>
                                      </p:cBhvr>
                                      <p:to>
                                        <p:strVal val="visible"/>
                                      </p:to>
                                    </p:set>
                                    <p:animEffect transition="in" filter="barn(inVertical)">
                                      <p:cBhvr>
                                        <p:cTn id="20" dur="500"/>
                                        <p:tgtEl>
                                          <p:spTgt spid="10">
                                            <p:txEl>
                                              <p:pRg st="0" end="0"/>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4" fill="hold" nodeType="click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wipe(down)">
                                      <p:cBhvr>
                                        <p:cTn id="25" dur="500"/>
                                        <p:tgtEl>
                                          <p:spTgt spid="8"/>
                                        </p:tgtEl>
                                      </p:cBhvr>
                                    </p:animEffect>
                                  </p:childTnLst>
                                </p:cTn>
                              </p:par>
                              <p:par>
                                <p:cTn id="26" presetID="22" presetClass="entr" presetSubtype="4" fill="hold"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42927" y="486255"/>
            <a:ext cx="17064546" cy="9572144"/>
          </a:xfrm>
          <a:prstGeom prst="rect">
            <a:avLst/>
          </a:prstGeom>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F9EA"/>
        </a:solidFill>
        <a:effectLst/>
      </p:bgPr>
    </p:bg>
    <p:spTree>
      <p:nvGrpSpPr>
        <p:cNvPr id="1" name=""/>
        <p:cNvGrpSpPr/>
        <p:nvPr/>
      </p:nvGrpSpPr>
      <p:grpSpPr>
        <a:xfrm>
          <a:off x="0" y="0"/>
          <a:ext cx="0" cy="0"/>
          <a:chOff x="0" y="0"/>
          <a:chExt cx="0" cy="0"/>
        </a:xfrm>
      </p:grpSpPr>
      <p:sp>
        <p:nvSpPr>
          <p:cNvPr id="11" name="TextBox 11"/>
          <p:cNvSpPr txBox="1"/>
          <p:nvPr/>
        </p:nvSpPr>
        <p:spPr>
          <a:xfrm>
            <a:off x="228600" y="190500"/>
            <a:ext cx="18288000" cy="1538883"/>
          </a:xfrm>
          <a:prstGeom prst="rect">
            <a:avLst/>
          </a:prstGeom>
        </p:spPr>
        <p:txBody>
          <a:bodyPr wrap="square" lIns="0" tIns="0" rIns="0" bIns="0" rtlCol="0" anchor="t">
            <a:spAutoFit/>
          </a:bodyPr>
          <a:lstStyle/>
          <a:p>
            <a:pPr algn="ctr">
              <a:lnSpc>
                <a:spcPts val="12000"/>
              </a:lnSpc>
            </a:pPr>
            <a:r>
              <a:rPr lang="en-US" sz="6000" b="1" dirty="0" smtClean="0">
                <a:solidFill>
                  <a:srgbClr val="493423"/>
                </a:solidFill>
                <a:latin typeface="Arial" panose="020B0604020202020204" pitchFamily="34" charset="0"/>
                <a:cs typeface="Arial" panose="020B0604020202020204" pitchFamily="34" charset="0"/>
              </a:rPr>
              <a:t>KHỞI ĐỘNG</a:t>
            </a:r>
            <a:endParaRPr lang="en-US" sz="6000" b="1" dirty="0">
              <a:solidFill>
                <a:srgbClr val="493423"/>
              </a:solidFill>
              <a:latin typeface="Arial" panose="020B0604020202020204" pitchFamily="34" charset="0"/>
              <a:cs typeface="Arial" panose="020B0604020202020204" pitchFamily="34" charset="0"/>
            </a:endParaRPr>
          </a:p>
        </p:txBody>
      </p:sp>
      <p:sp>
        <p:nvSpPr>
          <p:cNvPr id="17" name="TextBox 11"/>
          <p:cNvSpPr txBox="1"/>
          <p:nvPr/>
        </p:nvSpPr>
        <p:spPr>
          <a:xfrm>
            <a:off x="11887200" y="2171700"/>
            <a:ext cx="5739765" cy="3438525"/>
          </a:xfrm>
          <a:prstGeom prst="rect">
            <a:avLst/>
          </a:prstGeom>
        </p:spPr>
        <p:txBody>
          <a:bodyPr wrap="square" lIns="0" tIns="0" rIns="0" bIns="0" rtlCol="0" anchor="t">
            <a:noAutofit/>
          </a:bodyPr>
          <a:lstStyle/>
          <a:p>
            <a:pPr algn="ctr"/>
            <a:r>
              <a:rPr lang="en-US" sz="5000" dirty="0" err="1">
                <a:sym typeface="+mn-ea"/>
              </a:rPr>
              <a:t>Truyền</a:t>
            </a:r>
            <a:r>
              <a:rPr lang="en-US" sz="5000" dirty="0">
                <a:sym typeface="+mn-ea"/>
              </a:rPr>
              <a:t> </a:t>
            </a:r>
            <a:r>
              <a:rPr lang="en-US" sz="5000" dirty="0" err="1">
                <a:sym typeface="+mn-ea"/>
              </a:rPr>
              <a:t>thuyết</a:t>
            </a:r>
            <a:r>
              <a:rPr lang="en-US" sz="5000" dirty="0">
                <a:sym typeface="+mn-ea"/>
              </a:rPr>
              <a:t> </a:t>
            </a:r>
            <a:r>
              <a:rPr lang="en-US" sz="5000" dirty="0" err="1">
                <a:sym typeface="+mn-ea"/>
              </a:rPr>
              <a:t>nào</a:t>
            </a:r>
            <a:r>
              <a:rPr lang="en-US" sz="5000" dirty="0">
                <a:sym typeface="+mn-ea"/>
              </a:rPr>
              <a:t> </a:t>
            </a:r>
            <a:r>
              <a:rPr lang="en-US" sz="5000" dirty="0" err="1">
                <a:sym typeface="+mn-ea"/>
              </a:rPr>
              <a:t>đằng</a:t>
            </a:r>
            <a:r>
              <a:rPr lang="en-US" sz="5000" dirty="0">
                <a:sym typeface="+mn-ea"/>
              </a:rPr>
              <a:t> </a:t>
            </a:r>
            <a:r>
              <a:rPr lang="en-US" sz="5000" dirty="0" err="1">
                <a:sym typeface="+mn-ea"/>
              </a:rPr>
              <a:t>sau</a:t>
            </a:r>
            <a:r>
              <a:rPr lang="en-US" sz="5000" dirty="0">
                <a:sym typeface="+mn-ea"/>
              </a:rPr>
              <a:t> </a:t>
            </a:r>
            <a:r>
              <a:rPr lang="en-US" sz="5000" dirty="0" err="1">
                <a:sym typeface="+mn-ea"/>
              </a:rPr>
              <a:t>ống</a:t>
            </a:r>
            <a:r>
              <a:rPr lang="en-US" sz="5000" dirty="0">
                <a:sym typeface="+mn-ea"/>
              </a:rPr>
              <a:t> </a:t>
            </a:r>
            <a:r>
              <a:rPr lang="en-US" sz="5000" dirty="0" err="1">
                <a:sym typeface="+mn-ea"/>
              </a:rPr>
              <a:t>nhòm</a:t>
            </a:r>
            <a:r>
              <a:rPr lang="en-US" sz="5000" dirty="0">
                <a:sym typeface="+mn-ea"/>
              </a:rPr>
              <a:t>?</a:t>
            </a:r>
            <a:endParaRPr lang="en-US" sz="5000" dirty="0">
              <a:solidFill>
                <a:srgbClr val="493423"/>
              </a:solidFill>
              <a:latin typeface="Arial" panose="020B0604020202020204" pitchFamily="34" charset="0"/>
              <a:cs typeface="Arial" panose="020B0604020202020204" pitchFamily="34" charset="0"/>
            </a:endParaRPr>
          </a:p>
        </p:txBody>
      </p:sp>
      <p:pic>
        <p:nvPicPr>
          <p:cNvPr id="19" name="Picture 6"/>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b="61998"/>
          <a:stretch>
            <a:fillRect/>
          </a:stretch>
        </p:blipFill>
        <p:spPr>
          <a:xfrm>
            <a:off x="4184214" y="9103151"/>
            <a:ext cx="2909171" cy="986617"/>
          </a:xfrm>
          <a:prstGeom prst="rect">
            <a:avLst/>
          </a:prstGeom>
        </p:spPr>
      </p:pic>
      <p:pic>
        <p:nvPicPr>
          <p:cNvPr id="8" name="Picture 7"/>
          <p:cNvPicPr>
            <a:picLocks noChangeAspect="1"/>
          </p:cNvPicPr>
          <p:nvPr/>
        </p:nvPicPr>
        <p:blipFill rotWithShape="1">
          <a:blip r:embed="rId3">
            <a:clrChange>
              <a:clrFrom>
                <a:srgbClr val="FFFFFF"/>
              </a:clrFrom>
              <a:clrTo>
                <a:srgbClr val="FFFFFF">
                  <a:alpha val="0"/>
                </a:srgbClr>
              </a:clrTo>
            </a:clrChange>
          </a:blip>
          <a:srcRect l="36932" t="12524" r="37273" b="3232"/>
          <a:stretch>
            <a:fillRect/>
          </a:stretch>
        </p:blipFill>
        <p:spPr>
          <a:xfrm>
            <a:off x="228717" y="3314584"/>
            <a:ext cx="3144982" cy="5777345"/>
          </a:xfrm>
          <a:prstGeom prst="rect">
            <a:avLst/>
          </a:prstGeom>
        </p:spPr>
      </p:pic>
      <p:sp>
        <p:nvSpPr>
          <p:cNvPr id="5" name="Rounded Rectangular Callout 3"/>
          <p:cNvSpPr/>
          <p:nvPr/>
        </p:nvSpPr>
        <p:spPr>
          <a:xfrm>
            <a:off x="4419600" y="2324100"/>
            <a:ext cx="7308850" cy="4199255"/>
          </a:xfrm>
          <a:prstGeom prst="wedgeRoundRectCallout">
            <a:avLst>
              <a:gd name="adj1" fmla="val -71986"/>
              <a:gd name="adj2" fmla="val 952"/>
              <a:gd name="adj3" fmla="val 16667"/>
            </a:avLst>
          </a:prstGeom>
          <a:solidFill>
            <a:schemeClr val="bg1"/>
          </a:solidFill>
          <a:ln w="25400">
            <a:solidFill>
              <a:srgbClr val="1C1C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just"/>
            <a:r>
              <a:rPr lang="en-GB" sz="3200" dirty="0" err="1">
                <a:solidFill>
                  <a:srgbClr val="1C1C1C"/>
                </a:solidFill>
                <a:latin typeface="Times New Roman" panose="02020603050405020304" pitchFamily="18" charset="0"/>
                <a:cs typeface="Times New Roman" panose="02020603050405020304" pitchFamily="18" charset="0"/>
                <a:sym typeface="+mn-ea"/>
              </a:rPr>
              <a:t>Chào</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các</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bạn</a:t>
            </a:r>
            <a:r>
              <a:rPr lang="en-GB" sz="3200" dirty="0">
                <a:solidFill>
                  <a:srgbClr val="1C1C1C"/>
                </a:solidFill>
                <a:latin typeface="Times New Roman" panose="02020603050405020304" pitchFamily="18" charset="0"/>
                <a:cs typeface="Times New Roman" panose="02020603050405020304" pitchFamily="18" charset="0"/>
                <a:sym typeface="+mn-ea"/>
              </a:rPr>
              <a:t>!</a:t>
            </a:r>
            <a:endParaRPr lang="en-GB" sz="3200" dirty="0">
              <a:solidFill>
                <a:srgbClr val="1C1C1C"/>
              </a:solidFill>
              <a:latin typeface="Times New Roman" panose="02020603050405020304" pitchFamily="18" charset="0"/>
              <a:cs typeface="Times New Roman" panose="02020603050405020304" pitchFamily="18" charset="0"/>
            </a:endParaRPr>
          </a:p>
          <a:p>
            <a:pPr algn="just"/>
            <a:r>
              <a:rPr lang="en-GB" sz="3200" dirty="0" err="1">
                <a:solidFill>
                  <a:srgbClr val="1C1C1C"/>
                </a:solidFill>
                <a:latin typeface="Times New Roman" panose="02020603050405020304" pitchFamily="18" charset="0"/>
                <a:cs typeface="Times New Roman" panose="02020603050405020304" pitchFamily="18" charset="0"/>
                <a:sym typeface="+mn-ea"/>
              </a:rPr>
              <a:t>Tớ</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là</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Bình</a:t>
            </a:r>
            <a:r>
              <a:rPr lang="en-GB" sz="3200" dirty="0">
                <a:solidFill>
                  <a:srgbClr val="1C1C1C"/>
                </a:solidFill>
                <a:latin typeface="Times New Roman" panose="02020603050405020304" pitchFamily="18" charset="0"/>
                <a:cs typeface="Times New Roman" panose="02020603050405020304" pitchFamily="18" charset="0"/>
                <a:sym typeface="+mn-ea"/>
              </a:rPr>
              <a:t> An, </a:t>
            </a:r>
            <a:r>
              <a:rPr lang="en-GB" sz="3200" dirty="0" err="1">
                <a:solidFill>
                  <a:srgbClr val="1C1C1C"/>
                </a:solidFill>
                <a:latin typeface="Times New Roman" panose="02020603050405020304" pitchFamily="18" charset="0"/>
                <a:cs typeface="Times New Roman" panose="02020603050405020304" pitchFamily="18" charset="0"/>
                <a:sym typeface="+mn-ea"/>
              </a:rPr>
              <a:t>tớ</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rất</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thích</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đọc</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truyền</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thuyết</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Việt</a:t>
            </a:r>
            <a:r>
              <a:rPr lang="en-GB" sz="3200" dirty="0">
                <a:solidFill>
                  <a:srgbClr val="1C1C1C"/>
                </a:solidFill>
                <a:latin typeface="Times New Roman" panose="02020603050405020304" pitchFamily="18" charset="0"/>
                <a:cs typeface="Times New Roman" panose="02020603050405020304" pitchFamily="18" charset="0"/>
                <a:sym typeface="+mn-ea"/>
              </a:rPr>
              <a:t> Nam.</a:t>
            </a:r>
            <a:endParaRPr lang="en-GB" sz="3200" dirty="0">
              <a:solidFill>
                <a:srgbClr val="1C1C1C"/>
              </a:solidFill>
              <a:latin typeface="Times New Roman" panose="02020603050405020304" pitchFamily="18" charset="0"/>
              <a:cs typeface="Times New Roman" panose="02020603050405020304" pitchFamily="18" charset="0"/>
            </a:endParaRPr>
          </a:p>
          <a:p>
            <a:pPr algn="just"/>
            <a:r>
              <a:rPr lang="en-GB" sz="3200" dirty="0" err="1">
                <a:solidFill>
                  <a:srgbClr val="1C1C1C"/>
                </a:solidFill>
                <a:latin typeface="Times New Roman" panose="02020603050405020304" pitchFamily="18" charset="0"/>
                <a:cs typeface="Times New Roman" panose="02020603050405020304" pitchFamily="18" charset="0"/>
                <a:sym typeface="+mn-ea"/>
              </a:rPr>
              <a:t>Tớ</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muốn</a:t>
            </a:r>
            <a:r>
              <a:rPr lang="en-GB" sz="3200" dirty="0">
                <a:solidFill>
                  <a:srgbClr val="1C1C1C"/>
                </a:solidFill>
                <a:latin typeface="Times New Roman" panose="02020603050405020304" pitchFamily="18" charset="0"/>
                <a:cs typeface="Times New Roman" panose="02020603050405020304" pitchFamily="18" charset="0"/>
                <a:sym typeface="+mn-ea"/>
              </a:rPr>
              <a:t> chia </a:t>
            </a:r>
            <a:r>
              <a:rPr lang="en-GB" sz="3200" dirty="0" err="1">
                <a:solidFill>
                  <a:srgbClr val="1C1C1C"/>
                </a:solidFill>
                <a:latin typeface="Times New Roman" panose="02020603050405020304" pitchFamily="18" charset="0"/>
                <a:cs typeface="Times New Roman" panose="02020603050405020304" pitchFamily="18" charset="0"/>
                <a:sym typeface="+mn-ea"/>
              </a:rPr>
              <a:t>sẻ</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sở</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thích</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này</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với</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các</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bạn</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các</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bạn</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thử</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đoán</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xem</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đó</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là</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những</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truyền</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thuyết</a:t>
            </a:r>
            <a:r>
              <a:rPr lang="en-GB" sz="3200" dirty="0">
                <a:solidFill>
                  <a:srgbClr val="1C1C1C"/>
                </a:solidFill>
                <a:latin typeface="Times New Roman" panose="02020603050405020304" pitchFamily="18" charset="0"/>
                <a:cs typeface="Times New Roman" panose="02020603050405020304" pitchFamily="18" charset="0"/>
                <a:sym typeface="+mn-ea"/>
              </a:rPr>
              <a:t> </a:t>
            </a:r>
            <a:r>
              <a:rPr lang="en-GB" sz="3200" dirty="0" err="1">
                <a:solidFill>
                  <a:srgbClr val="1C1C1C"/>
                </a:solidFill>
                <a:latin typeface="Times New Roman" panose="02020603050405020304" pitchFamily="18" charset="0"/>
                <a:cs typeface="Times New Roman" panose="02020603050405020304" pitchFamily="18" charset="0"/>
                <a:sym typeface="+mn-ea"/>
              </a:rPr>
              <a:t>nào</a:t>
            </a:r>
            <a:r>
              <a:rPr lang="en-GB" sz="3200" dirty="0">
                <a:solidFill>
                  <a:srgbClr val="1C1C1C"/>
                </a:solidFill>
                <a:latin typeface="Times New Roman" panose="02020603050405020304" pitchFamily="18" charset="0"/>
                <a:cs typeface="Times New Roman" panose="02020603050405020304" pitchFamily="18" charset="0"/>
                <a:sym typeface="+mn-ea"/>
              </a:rPr>
              <a:t>? </a:t>
            </a:r>
            <a:endParaRPr lang="en-GB" sz="3200" dirty="0">
              <a:solidFill>
                <a:srgbClr val="1C1C1C"/>
              </a:solidFill>
              <a:latin typeface="Times New Roman" panose="02020603050405020304" pitchFamily="18" charset="0"/>
              <a:cs typeface="Times New Roman" panose="02020603050405020304" pitchFamily="18" charset="0"/>
              <a:sym typeface="+mn-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wipe(down)">
                                      <p:cBhvr>
                                        <p:cTn id="7" dur="500"/>
                                        <p:tgtEl>
                                          <p:spTgt spid="1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7">
                                            <p:txEl>
                                              <p:pRg st="0" end="0"/>
                                            </p:txEl>
                                          </p:spTgt>
                                        </p:tgtEl>
                                        <p:attrNameLst>
                                          <p:attrName>style.visibility</p:attrName>
                                        </p:attrNameLst>
                                      </p:cBhvr>
                                      <p:to>
                                        <p:strVal val="visible"/>
                                      </p:to>
                                    </p:set>
                                    <p:animEffect transition="in" filter="barn(inVertical)">
                                      <p:cBhvr>
                                        <p:cTn id="12" dur="500"/>
                                        <p:tgtEl>
                                          <p:spTgt spid="1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a:solidFill>
                  <a:srgbClr val="FF0000"/>
                </a:solidFill>
                <a:latin typeface="Times New Roman" panose="02020603050405020304" pitchFamily="18" charset="0"/>
                <a:cs typeface="Times New Roman" panose="02020603050405020304" pitchFamily="18" charset="0"/>
              </a:rPr>
              <a:t>LUẬT CHƠI</a:t>
            </a:r>
            <a:endParaRPr lang="en-US" b="1">
              <a:solidFill>
                <a:srgbClr val="FF0000"/>
              </a:solidFill>
              <a:latin typeface="Times New Roman" panose="02020603050405020304" pitchFamily="18" charset="0"/>
              <a:cs typeface="Times New Roman" panose="02020603050405020304" pitchFamily="18" charset="0"/>
            </a:endParaRPr>
          </a:p>
        </p:txBody>
      </p:sp>
      <p:sp>
        <p:nvSpPr>
          <p:cNvPr id="4" name="TextBox 3"/>
          <p:cNvSpPr txBox="1"/>
          <p:nvPr/>
        </p:nvSpPr>
        <p:spPr>
          <a:xfrm>
            <a:off x="2922816" y="3080657"/>
            <a:ext cx="13307784" cy="3969385"/>
          </a:xfrm>
          <a:prstGeom prst="rect">
            <a:avLst/>
          </a:prstGeom>
          <a:noFill/>
        </p:spPr>
        <p:txBody>
          <a:bodyPr wrap="square" rtlCol="0">
            <a:spAutoFit/>
          </a:bodyPr>
          <a:lstStyle/>
          <a:p>
            <a:pPr marL="0" marR="0" lvl="0" indent="0" algn="l" defTabSz="914400" rtl="0" eaLnBrk="1" fontAlgn="auto" latinLnBrk="0" hangingPunct="1">
              <a:lnSpc>
                <a:spcPct val="200000"/>
              </a:lnSpc>
              <a:spcBef>
                <a:spcPts val="0"/>
              </a:spcBef>
              <a:spcAft>
                <a:spcPts val="0"/>
              </a:spcAft>
              <a:buClrTx/>
              <a:buSzTx/>
              <a:buFontTx/>
              <a:buNone/>
              <a:defRPr/>
            </a:pPr>
            <a:r>
              <a:rPr kumimoji="0" lang="en-US" sz="42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Có 5 câu hỏi. Mỗi câu hỏi có thời gian suy nghĩ là 10 giây</a:t>
            </a:r>
            <a:endParaRPr kumimoji="0" lang="en-US" sz="42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200000"/>
              </a:lnSpc>
              <a:spcBef>
                <a:spcPts val="0"/>
              </a:spcBef>
              <a:spcAft>
                <a:spcPts val="0"/>
              </a:spcAft>
              <a:buClrTx/>
              <a:buSzTx/>
              <a:buFontTx/>
              <a:buNone/>
              <a:defRPr/>
            </a:pPr>
            <a:r>
              <a:rPr kumimoji="0" lang="en-US" sz="42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Trả lời đúng mỗi câu hỏi là em có 1 nguyên liệu làm bánh.</a:t>
            </a:r>
            <a:endParaRPr kumimoji="0" lang="en-US" sz="42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200000"/>
              </a:lnSpc>
              <a:spcBef>
                <a:spcPts val="0"/>
              </a:spcBef>
              <a:spcAft>
                <a:spcPts val="0"/>
              </a:spcAft>
              <a:buClrTx/>
              <a:buSzTx/>
              <a:buFontTx/>
              <a:buNone/>
              <a:defRPr/>
            </a:pPr>
            <a:r>
              <a:rPr kumimoji="0" lang="en-US" sz="4200" b="1" i="1"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Chúc các em thành công!</a:t>
            </a:r>
            <a:endParaRPr kumimoji="0" lang="en-US" sz="4200" b="1" i="1"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5" name="Frame 4"/>
          <p:cNvSpPr/>
          <p:nvPr/>
        </p:nvSpPr>
        <p:spPr>
          <a:xfrm>
            <a:off x="0" y="0"/>
            <a:ext cx="18288000" cy="10287000"/>
          </a:xfrm>
          <a:prstGeom prst="frame">
            <a:avLst>
              <a:gd name="adj1" fmla="val 6510"/>
            </a:avLst>
          </a:prstGeom>
          <a:blipFill>
            <a:blip r:embed="rId1"/>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Tips làm đẹp cấp tốc 4 ngày cuối năm – Bạn đã biết chưa? | Mỹ thuật, Hoa,  Paintin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11054" y="0"/>
            <a:ext cx="6866849" cy="4647585"/>
          </a:xfrm>
          <a:prstGeom prst="rect">
            <a:avLst/>
          </a:prstGeom>
          <a:noFill/>
          <a:extLst>
            <a:ext uri="{909E8E84-426E-40DD-AFC4-6F175D3DCCD1}">
              <a14:hiddenFill xmlns:a14="http://schemas.microsoft.com/office/drawing/2010/main">
                <a:solidFill>
                  <a:srgbClr val="FFFFFF"/>
                </a:solidFill>
              </a14:hiddenFill>
            </a:ext>
          </a:extLst>
        </p:spPr>
      </p:pic>
      <p:sp>
        <p:nvSpPr>
          <p:cNvPr id="6" name="Oval 5"/>
          <p:cNvSpPr/>
          <p:nvPr/>
        </p:nvSpPr>
        <p:spPr>
          <a:xfrm>
            <a:off x="2665541" y="5060370"/>
            <a:ext cx="12830175" cy="4998030"/>
          </a:xfrm>
          <a:prstGeom prst="ellipse">
            <a:avLst/>
          </a:prstGeom>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37160" tIns="68580" rIns="137160" bIns="6858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7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9" name="Picture 8"/>
          <p:cNvPicPr>
            <a:picLocks noChangeAspect="1"/>
          </p:cNvPicPr>
          <p:nvPr/>
        </p:nvPicPr>
        <p:blipFill rotWithShape="1">
          <a:blip r:embed="rId2">
            <a:extLst>
              <a:ext uri="{BEBA8EAE-BF5A-486C-A8C5-ECC9F3942E4B}">
                <a14:imgProps xmlns:a14="http://schemas.microsoft.com/office/drawing/2010/main">
                  <a14:imgLayer r:embed="rId3">
                    <a14:imgEffect>
                      <a14:backgroundRemoval t="0" b="84277" l="10000" r="90000">
                        <a14:foregroundMark x1="44444" y1="15409" x2="37111" y2="36792"/>
                        <a14:foregroundMark x1="29111" y1="50629" x2="24222" y2="73585"/>
                        <a14:foregroundMark x1="36222" y1="62264" x2="36222" y2="62264"/>
                        <a14:foregroundMark x1="64889" y1="56604" x2="64889" y2="56604"/>
                        <a14:foregroundMark x1="65556" y1="52830" x2="66222" y2="56604"/>
                        <a14:backgroundMark x1="42667" y1="81761" x2="52667" y2="81132"/>
                      </a14:backgroundRemoval>
                    </a14:imgEffect>
                  </a14:imgLayer>
                </a14:imgProps>
              </a:ext>
              <a:ext uri="{28A0092B-C50C-407E-A947-70E740481C1C}">
                <a14:useLocalDpi xmlns:a14="http://schemas.microsoft.com/office/drawing/2010/main" val="0"/>
              </a:ext>
            </a:extLst>
          </a:blip>
          <a:srcRect l="13119" t="1348" r="49168" b="14484"/>
          <a:stretch>
            <a:fillRect/>
          </a:stretch>
        </p:blipFill>
        <p:spPr>
          <a:xfrm>
            <a:off x="2707001" y="1724723"/>
            <a:ext cx="5063997" cy="7986714"/>
          </a:xfrm>
          <a:prstGeom prst="rect">
            <a:avLst/>
          </a:prstGeom>
        </p:spPr>
      </p:pic>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t="20640" b="25068"/>
          <a:stretch>
            <a:fillRect/>
          </a:stretch>
        </p:blipFill>
        <p:spPr>
          <a:xfrm rot="21449952">
            <a:off x="7474499" y="5083512"/>
            <a:ext cx="3212261" cy="1744017"/>
          </a:xfrm>
          <a:prstGeom prst="rect">
            <a:avLst/>
          </a:prstGeom>
        </p:spPr>
      </p:pic>
      <p:pic>
        <p:nvPicPr>
          <p:cNvPr id="11" name="Picture 10"/>
          <p:cNvPicPr>
            <a:picLocks noChangeAspect="1"/>
          </p:cNvPicPr>
          <p:nvPr/>
        </p:nvPicPr>
        <p:blipFill rotWithShape="1">
          <a:blip r:embed="rId5">
            <a:extLst>
              <a:ext uri="{BEBA8EAE-BF5A-486C-A8C5-ECC9F3942E4B}">
                <a14:imgProps xmlns:a14="http://schemas.microsoft.com/office/drawing/2010/main">
                  <a14:imgLayer r:embed="rId3">
                    <a14:imgEffect>
                      <a14:backgroundRemoval t="53774" b="84277" l="38000" r="60000">
                        <a14:foregroundMark x1="44444" y1="15409" x2="37111" y2="36792"/>
                        <a14:foregroundMark x1="29111" y1="50629" x2="24222" y2="73585"/>
                        <a14:foregroundMark x1="36222" y1="62264" x2="36222" y2="62264"/>
                        <a14:foregroundMark x1="64889" y1="56604" x2="64889" y2="56604"/>
                        <a14:foregroundMark x1="65556" y1="52830" x2="66222" y2="56604"/>
                        <a14:backgroundMark x1="42667" y1="81761" x2="52667" y2="81132"/>
                      </a14:backgroundRemoval>
                    </a14:imgEffect>
                  </a14:imgLayer>
                </a14:imgProps>
              </a:ext>
              <a:ext uri="{28A0092B-C50C-407E-A947-70E740481C1C}">
                <a14:useLocalDpi xmlns:a14="http://schemas.microsoft.com/office/drawing/2010/main" val="0"/>
              </a:ext>
            </a:extLst>
          </a:blip>
          <a:srcRect l="39746" t="55093" r="40733" b="18578"/>
          <a:stretch>
            <a:fillRect/>
          </a:stretch>
        </p:blipFill>
        <p:spPr>
          <a:xfrm>
            <a:off x="9981339" y="6128277"/>
            <a:ext cx="1828800" cy="1743077"/>
          </a:xfrm>
          <a:prstGeom prst="rect">
            <a:avLst/>
          </a:prstGeom>
        </p:spPr>
      </p:pic>
      <p:pic>
        <p:nvPicPr>
          <p:cNvPr id="12" name="Picture 11"/>
          <p:cNvPicPr>
            <a:picLocks noChangeAspect="1"/>
          </p:cNvPicPr>
          <p:nvPr/>
        </p:nvPicPr>
        <p:blipFill rotWithShape="1">
          <a:blip r:embed="rId6">
            <a:extLst>
              <a:ext uri="{BEBA8EAE-BF5A-486C-A8C5-ECC9F3942E4B}">
                <a14:imgProps xmlns:a14="http://schemas.microsoft.com/office/drawing/2010/main">
                  <a14:imgLayer r:embed="rId3">
                    <a14:imgEffect>
                      <a14:backgroundRemoval t="71384" b="97484" l="46889" r="71111">
                        <a14:foregroundMark x1="44444" y1="15409" x2="37111" y2="36792"/>
                        <a14:foregroundMark x1="29111" y1="50629" x2="24222" y2="73585"/>
                        <a14:foregroundMark x1="36222" y1="62264" x2="36222" y2="62264"/>
                        <a14:foregroundMark x1="64889" y1="56604" x2="64889" y2="56604"/>
                        <a14:foregroundMark x1="65556" y1="52830" x2="66222" y2="56604"/>
                        <a14:foregroundMark x1="60222" y1="78931" x2="60222" y2="78931"/>
                        <a14:foregroundMark x1="60444" y1="79874" x2="62889" y2="83648"/>
                        <a14:foregroundMark x1="59333" y1="77044" x2="61111" y2="82390"/>
                        <a14:foregroundMark x1="62667" y1="80189" x2="63111" y2="79245"/>
                        <a14:foregroundMark x1="52889" y1="87421" x2="52889" y2="87421"/>
                        <a14:foregroundMark x1="64889" y1="79874" x2="64889" y2="79874"/>
                        <a14:foregroundMark x1="64667" y1="81447" x2="64667" y2="81447"/>
                        <a14:backgroundMark x1="42667" y1="81761" x2="52667" y2="81132"/>
                        <a14:backgroundMark x1="61556" y1="78302" x2="61556" y2="78302"/>
                        <a14:backgroundMark x1="63778" y1="80189" x2="63778" y2="80189"/>
                        <a14:backgroundMark x1="62000" y1="79245" x2="62000" y2="79245"/>
                      </a14:backgroundRemoval>
                    </a14:imgEffect>
                  </a14:imgLayer>
                </a14:imgProps>
              </a:ext>
              <a:ext uri="{28A0092B-C50C-407E-A947-70E740481C1C}">
                <a14:useLocalDpi xmlns:a14="http://schemas.microsoft.com/office/drawing/2010/main" val="0"/>
              </a:ext>
            </a:extLst>
          </a:blip>
          <a:srcRect l="49555" t="72511" r="30229" b="-818"/>
          <a:stretch>
            <a:fillRect/>
          </a:stretch>
        </p:blipFill>
        <p:spPr>
          <a:xfrm>
            <a:off x="8906645" y="7616795"/>
            <a:ext cx="2181225" cy="2158266"/>
          </a:xfrm>
          <a:prstGeom prst="rect">
            <a:avLst/>
          </a:prstGeom>
        </p:spPr>
      </p:pic>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11092" y="6683627"/>
            <a:ext cx="1671638" cy="1671638"/>
          </a:xfrm>
          <a:prstGeom prst="rect">
            <a:avLst/>
          </a:prstGeom>
        </p:spPr>
      </p:pic>
      <p:pic>
        <p:nvPicPr>
          <p:cNvPr id="3076" name="Picture 4" descr="Gói Bánh Chưng – Thời Báo Newspaper"/>
          <p:cNvPicPr>
            <a:picLocks noChangeAspect="1" noChangeArrowheads="1"/>
          </p:cNvPicPr>
          <p:nvPr/>
        </p:nvPicPr>
        <p:blipFill rotWithShape="1">
          <a:blip r:embed="rId8">
            <a:extLst>
              <a:ext uri="{28A0092B-C50C-407E-A947-70E740481C1C}">
                <a14:useLocalDpi xmlns:a14="http://schemas.microsoft.com/office/drawing/2010/main" val="0"/>
              </a:ext>
            </a:extLst>
          </a:blip>
          <a:srcRect l="29036" t="16492" r="38347" b="30036"/>
          <a:stretch>
            <a:fillRect/>
          </a:stretch>
        </p:blipFill>
        <p:spPr bwMode="auto">
          <a:xfrm>
            <a:off x="6370443" y="8316374"/>
            <a:ext cx="1518371" cy="140017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rotWithShape="1">
          <a:blip r:embed="rId2">
            <a:extLst>
              <a:ext uri="{BEBA8EAE-BF5A-486C-A8C5-ECC9F3942E4B}">
                <a14:imgProps xmlns:a14="http://schemas.microsoft.com/office/drawing/2010/main">
                  <a14:imgLayer r:embed="rId3">
                    <a14:imgEffect>
                      <a14:backgroundRemoval t="0" b="84277" l="10000" r="90000">
                        <a14:foregroundMark x1="44444" y1="15409" x2="37111" y2="36792"/>
                        <a14:foregroundMark x1="29111" y1="50629" x2="24222" y2="73585"/>
                        <a14:foregroundMark x1="36222" y1="62264" x2="36222" y2="62264"/>
                        <a14:foregroundMark x1="64889" y1="56604" x2="64889" y2="56604"/>
                        <a14:foregroundMark x1="65556" y1="52830" x2="66222" y2="56604"/>
                        <a14:backgroundMark x1="42667" y1="81761" x2="52667" y2="81132"/>
                      </a14:backgroundRemoval>
                    </a14:imgEffect>
                  </a14:imgLayer>
                </a14:imgProps>
              </a:ext>
              <a:ext uri="{28A0092B-C50C-407E-A947-70E740481C1C}">
                <a14:useLocalDpi xmlns:a14="http://schemas.microsoft.com/office/drawing/2010/main" val="0"/>
              </a:ext>
            </a:extLst>
          </a:blip>
          <a:srcRect l="50900" t="1348" r="13677" b="14484"/>
          <a:stretch>
            <a:fillRect/>
          </a:stretch>
        </p:blipFill>
        <p:spPr>
          <a:xfrm>
            <a:off x="11095413" y="899045"/>
            <a:ext cx="4756586" cy="7986714"/>
          </a:xfrm>
          <a:prstGeom prst="rect">
            <a:avLst/>
          </a:prstGeom>
        </p:spPr>
      </p:pic>
      <p:pic>
        <p:nvPicPr>
          <p:cNvPr id="3080" name="Picture 8" descr="Hướng dẫn gói bánh chưng vuông chi tiết | Máy hút mùi - Cung cấp máy hút mùi"/>
          <p:cNvPicPr>
            <a:picLocks noChangeAspect="1" noChangeArrowheads="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foregroundMark x1="40820" y1="38281" x2="60352" y2="38542"/>
                        <a14:foregroundMark x1="67188" y1="29948" x2="61914" y2="44010"/>
                        <a14:foregroundMark x1="66602" y1="38802" x2="76953" y2="39583"/>
                        <a14:foregroundMark x1="75781" y1="54948" x2="48828" y2="50000"/>
                        <a14:foregroundMark x1="26563" y1="51042" x2="50781" y2="53125"/>
                        <a14:foregroundMark x1="27344" y1="49740" x2="46094" y2="50260"/>
                        <a14:foregroundMark x1="32031" y1="59115" x2="31250" y2="80208"/>
                        <a14:foregroundMark x1="44727" y1="60677" x2="43750" y2="80469"/>
                        <a14:foregroundMark x1="57227" y1="61719" x2="56250" y2="78125"/>
                        <a14:foregroundMark x1="57422" y1="51823" x2="73438" y2="52865"/>
                        <a14:foregroundMark x1="56641" y1="50260" x2="73047" y2="51302"/>
                        <a14:foregroundMark x1="23633" y1="78385" x2="23633" y2="78385"/>
                      </a14:backgroundRemoval>
                    </a14:imgEffect>
                  </a14:imgLayer>
                </a14:imgProps>
              </a:ext>
              <a:ext uri="{28A0092B-C50C-407E-A947-70E740481C1C}">
                <a14:useLocalDpi xmlns:a14="http://schemas.microsoft.com/office/drawing/2010/main" val="0"/>
              </a:ext>
            </a:extLst>
          </a:blip>
          <a:srcRect l="16371" t="5544" r="14547" b="5321"/>
          <a:stretch>
            <a:fillRect/>
          </a:stretch>
        </p:blipFill>
        <p:spPr bwMode="auto">
          <a:xfrm>
            <a:off x="7575198" y="4257171"/>
            <a:ext cx="1181102" cy="114300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Hướng dẫn gói bánh chưng vuông chi tiết | Máy hút mùi - Cung cấp máy hút mùi"/>
          <p:cNvPicPr>
            <a:picLocks noChangeAspect="1" noChangeArrowheads="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foregroundMark x1="40820" y1="38281" x2="60352" y2="38542"/>
                        <a14:foregroundMark x1="67188" y1="29948" x2="61914" y2="44010"/>
                        <a14:foregroundMark x1="66602" y1="38802" x2="76953" y2="39583"/>
                        <a14:foregroundMark x1="75781" y1="54948" x2="48828" y2="50000"/>
                        <a14:foregroundMark x1="26563" y1="51042" x2="50781" y2="53125"/>
                        <a14:foregroundMark x1="27344" y1="49740" x2="46094" y2="50260"/>
                        <a14:foregroundMark x1="32031" y1="59115" x2="31250" y2="80208"/>
                        <a14:foregroundMark x1="44727" y1="60677" x2="43750" y2="80469"/>
                        <a14:foregroundMark x1="57227" y1="61719" x2="56250" y2="78125"/>
                        <a14:foregroundMark x1="57422" y1="51823" x2="73438" y2="52865"/>
                        <a14:foregroundMark x1="56641" y1="50260" x2="73047" y2="51302"/>
                        <a14:foregroundMark x1="23633" y1="78385" x2="23633" y2="78385"/>
                      </a14:backgroundRemoval>
                    </a14:imgEffect>
                  </a14:imgLayer>
                </a14:imgProps>
              </a:ext>
              <a:ext uri="{28A0092B-C50C-407E-A947-70E740481C1C}">
                <a14:useLocalDpi xmlns:a14="http://schemas.microsoft.com/office/drawing/2010/main" val="0"/>
              </a:ext>
            </a:extLst>
          </a:blip>
          <a:srcRect l="16371" t="5544" r="14547" b="5321"/>
          <a:stretch>
            <a:fillRect/>
          </a:stretch>
        </p:blipFill>
        <p:spPr bwMode="auto">
          <a:xfrm>
            <a:off x="7601628" y="3744290"/>
            <a:ext cx="1181102" cy="114300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Hướng dẫn gói bánh chưng vuông chi tiết | Máy hút mùi - Cung cấp máy hút mùi"/>
          <p:cNvPicPr>
            <a:picLocks noChangeAspect="1" noChangeArrowheads="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foregroundMark x1="40820" y1="38281" x2="60352" y2="38542"/>
                        <a14:foregroundMark x1="67188" y1="29948" x2="61914" y2="44010"/>
                        <a14:foregroundMark x1="66602" y1="38802" x2="76953" y2="39583"/>
                        <a14:foregroundMark x1="75781" y1="54948" x2="48828" y2="50000"/>
                        <a14:foregroundMark x1="26563" y1="51042" x2="50781" y2="53125"/>
                        <a14:foregroundMark x1="27344" y1="49740" x2="46094" y2="50260"/>
                        <a14:foregroundMark x1="32031" y1="59115" x2="31250" y2="80208"/>
                        <a14:foregroundMark x1="44727" y1="60677" x2="43750" y2="80469"/>
                        <a14:foregroundMark x1="57227" y1="61719" x2="56250" y2="78125"/>
                        <a14:foregroundMark x1="57422" y1="51823" x2="73438" y2="52865"/>
                        <a14:foregroundMark x1="56641" y1="50260" x2="73047" y2="51302"/>
                        <a14:foregroundMark x1="23633" y1="78385" x2="23633" y2="78385"/>
                      </a14:backgroundRemoval>
                    </a14:imgEffect>
                  </a14:imgLayer>
                </a14:imgProps>
              </a:ext>
              <a:ext uri="{28A0092B-C50C-407E-A947-70E740481C1C}">
                <a14:useLocalDpi xmlns:a14="http://schemas.microsoft.com/office/drawing/2010/main" val="0"/>
              </a:ext>
            </a:extLst>
          </a:blip>
          <a:srcRect l="16371" t="5544" r="14547" b="5321"/>
          <a:stretch>
            <a:fillRect/>
          </a:stretch>
        </p:blipFill>
        <p:spPr bwMode="auto">
          <a:xfrm>
            <a:off x="7614840" y="3189266"/>
            <a:ext cx="1181102" cy="114300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Hướng dẫn gói bánh chưng vuông chi tiết | Máy hút mùi - Cung cấp máy hút mùi"/>
          <p:cNvPicPr>
            <a:picLocks noChangeAspect="1" noChangeArrowheads="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foregroundMark x1="40820" y1="38281" x2="60352" y2="38542"/>
                        <a14:foregroundMark x1="67188" y1="29948" x2="61914" y2="44010"/>
                        <a14:foregroundMark x1="66602" y1="38802" x2="76953" y2="39583"/>
                        <a14:foregroundMark x1="75781" y1="54948" x2="48828" y2="50000"/>
                        <a14:foregroundMark x1="26563" y1="51042" x2="50781" y2="53125"/>
                        <a14:foregroundMark x1="27344" y1="49740" x2="46094" y2="50260"/>
                        <a14:foregroundMark x1="32031" y1="59115" x2="31250" y2="80208"/>
                        <a14:foregroundMark x1="44727" y1="60677" x2="43750" y2="80469"/>
                        <a14:foregroundMark x1="57227" y1="61719" x2="56250" y2="78125"/>
                        <a14:foregroundMark x1="57422" y1="51823" x2="73438" y2="52865"/>
                        <a14:foregroundMark x1="56641" y1="50260" x2="73047" y2="51302"/>
                        <a14:foregroundMark x1="23633" y1="78385" x2="23633" y2="78385"/>
                      </a14:backgroundRemoval>
                    </a14:imgEffect>
                  </a14:imgLayer>
                </a14:imgProps>
              </a:ext>
              <a:ext uri="{28A0092B-C50C-407E-A947-70E740481C1C}">
                <a14:useLocalDpi xmlns:a14="http://schemas.microsoft.com/office/drawing/2010/main" val="0"/>
              </a:ext>
            </a:extLst>
          </a:blip>
          <a:srcRect l="16371" t="5544" r="14547" b="5321"/>
          <a:stretch>
            <a:fillRect/>
          </a:stretch>
        </p:blipFill>
        <p:spPr bwMode="auto">
          <a:xfrm>
            <a:off x="8810895" y="4217280"/>
            <a:ext cx="1181102" cy="114300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8" descr="Hướng dẫn gói bánh chưng vuông chi tiết | Máy hút mùi - Cung cấp máy hút mùi"/>
          <p:cNvPicPr>
            <a:picLocks noChangeAspect="1" noChangeArrowheads="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foregroundMark x1="40820" y1="38281" x2="60352" y2="38542"/>
                        <a14:foregroundMark x1="67188" y1="29948" x2="61914" y2="44010"/>
                        <a14:foregroundMark x1="66602" y1="38802" x2="76953" y2="39583"/>
                        <a14:foregroundMark x1="75781" y1="54948" x2="48828" y2="50000"/>
                        <a14:foregroundMark x1="26563" y1="51042" x2="50781" y2="53125"/>
                        <a14:foregroundMark x1="27344" y1="49740" x2="46094" y2="50260"/>
                        <a14:foregroundMark x1="32031" y1="59115" x2="31250" y2="80208"/>
                        <a14:foregroundMark x1="44727" y1="60677" x2="43750" y2="80469"/>
                        <a14:foregroundMark x1="57227" y1="61719" x2="56250" y2="78125"/>
                        <a14:foregroundMark x1="57422" y1="51823" x2="73438" y2="52865"/>
                        <a14:foregroundMark x1="56641" y1="50260" x2="73047" y2="51302"/>
                        <a14:foregroundMark x1="23633" y1="78385" x2="23633" y2="78385"/>
                      </a14:backgroundRemoval>
                    </a14:imgEffect>
                  </a14:imgLayer>
                </a14:imgProps>
              </a:ext>
              <a:ext uri="{28A0092B-C50C-407E-A947-70E740481C1C}">
                <a14:useLocalDpi xmlns:a14="http://schemas.microsoft.com/office/drawing/2010/main" val="0"/>
              </a:ext>
            </a:extLst>
          </a:blip>
          <a:srcRect l="16371" t="5544" r="14547" b="5321"/>
          <a:stretch>
            <a:fillRect/>
          </a:stretch>
        </p:blipFill>
        <p:spPr bwMode="auto">
          <a:xfrm>
            <a:off x="8837325" y="3704399"/>
            <a:ext cx="1181102" cy="114300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descr="Hướng dẫn gói bánh chưng vuông chi tiết | Máy hút mùi - Cung cấp máy hút mùi"/>
          <p:cNvPicPr>
            <a:picLocks noChangeAspect="1" noChangeArrowheads="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foregroundMark x1="40820" y1="38281" x2="60352" y2="38542"/>
                        <a14:foregroundMark x1="67188" y1="29948" x2="61914" y2="44010"/>
                        <a14:foregroundMark x1="66602" y1="38802" x2="76953" y2="39583"/>
                        <a14:foregroundMark x1="75781" y1="54948" x2="48828" y2="50000"/>
                        <a14:foregroundMark x1="26563" y1="51042" x2="50781" y2="53125"/>
                        <a14:foregroundMark x1="27344" y1="49740" x2="46094" y2="50260"/>
                        <a14:foregroundMark x1="32031" y1="59115" x2="31250" y2="80208"/>
                        <a14:foregroundMark x1="44727" y1="60677" x2="43750" y2="80469"/>
                        <a14:foregroundMark x1="57227" y1="61719" x2="56250" y2="78125"/>
                        <a14:foregroundMark x1="57422" y1="51823" x2="73438" y2="52865"/>
                        <a14:foregroundMark x1="56641" y1="50260" x2="73047" y2="51302"/>
                        <a14:foregroundMark x1="23633" y1="78385" x2="23633" y2="78385"/>
                      </a14:backgroundRemoval>
                    </a14:imgEffect>
                  </a14:imgLayer>
                </a14:imgProps>
              </a:ext>
              <a:ext uri="{28A0092B-C50C-407E-A947-70E740481C1C}">
                <a14:useLocalDpi xmlns:a14="http://schemas.microsoft.com/office/drawing/2010/main" val="0"/>
              </a:ext>
            </a:extLst>
          </a:blip>
          <a:srcRect l="16371" t="5544" r="14547" b="5321"/>
          <a:stretch>
            <a:fillRect/>
          </a:stretch>
        </p:blipFill>
        <p:spPr bwMode="auto">
          <a:xfrm>
            <a:off x="8850537" y="3149375"/>
            <a:ext cx="1181102" cy="114300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8" descr="Hướng dẫn gói bánh chưng vuông chi tiết | Máy hút mùi - Cung cấp máy hút mùi"/>
          <p:cNvPicPr>
            <a:picLocks noChangeAspect="1" noChangeArrowheads="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foregroundMark x1="40820" y1="38281" x2="60352" y2="38542"/>
                        <a14:foregroundMark x1="67188" y1="29948" x2="61914" y2="44010"/>
                        <a14:foregroundMark x1="66602" y1="38802" x2="76953" y2="39583"/>
                        <a14:foregroundMark x1="75781" y1="54948" x2="48828" y2="50000"/>
                        <a14:foregroundMark x1="26563" y1="51042" x2="50781" y2="53125"/>
                        <a14:foregroundMark x1="27344" y1="49740" x2="46094" y2="50260"/>
                        <a14:foregroundMark x1="32031" y1="59115" x2="31250" y2="80208"/>
                        <a14:foregroundMark x1="44727" y1="60677" x2="43750" y2="80469"/>
                        <a14:foregroundMark x1="57227" y1="61719" x2="56250" y2="78125"/>
                        <a14:foregroundMark x1="57422" y1="51823" x2="73438" y2="52865"/>
                        <a14:foregroundMark x1="56641" y1="50260" x2="73047" y2="51302"/>
                        <a14:foregroundMark x1="23633" y1="78385" x2="23633" y2="78385"/>
                      </a14:backgroundRemoval>
                    </a14:imgEffect>
                  </a14:imgLayer>
                </a14:imgProps>
              </a:ext>
              <a:ext uri="{28A0092B-C50C-407E-A947-70E740481C1C}">
                <a14:useLocalDpi xmlns:a14="http://schemas.microsoft.com/office/drawing/2010/main" val="0"/>
              </a:ext>
            </a:extLst>
          </a:blip>
          <a:srcRect l="16371" t="5544" r="14547" b="5321"/>
          <a:stretch>
            <a:fillRect/>
          </a:stretch>
        </p:blipFill>
        <p:spPr bwMode="auto">
          <a:xfrm>
            <a:off x="10028222" y="4364783"/>
            <a:ext cx="1181102" cy="114300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8" descr="Hướng dẫn gói bánh chưng vuông chi tiết | Máy hút mùi - Cung cấp máy hút mùi"/>
          <p:cNvPicPr>
            <a:picLocks noChangeAspect="1" noChangeArrowheads="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foregroundMark x1="40820" y1="38281" x2="60352" y2="38542"/>
                        <a14:foregroundMark x1="67188" y1="29948" x2="61914" y2="44010"/>
                        <a14:foregroundMark x1="66602" y1="38802" x2="76953" y2="39583"/>
                        <a14:foregroundMark x1="75781" y1="54948" x2="48828" y2="50000"/>
                        <a14:foregroundMark x1="26563" y1="51042" x2="50781" y2="53125"/>
                        <a14:foregroundMark x1="27344" y1="49740" x2="46094" y2="50260"/>
                        <a14:foregroundMark x1="32031" y1="59115" x2="31250" y2="80208"/>
                        <a14:foregroundMark x1="44727" y1="60677" x2="43750" y2="80469"/>
                        <a14:foregroundMark x1="57227" y1="61719" x2="56250" y2="78125"/>
                        <a14:foregroundMark x1="57422" y1="51823" x2="73438" y2="52865"/>
                        <a14:foregroundMark x1="56641" y1="50260" x2="73047" y2="51302"/>
                        <a14:foregroundMark x1="23633" y1="78385" x2="23633" y2="78385"/>
                      </a14:backgroundRemoval>
                    </a14:imgEffect>
                  </a14:imgLayer>
                </a14:imgProps>
              </a:ext>
              <a:ext uri="{28A0092B-C50C-407E-A947-70E740481C1C}">
                <a14:useLocalDpi xmlns:a14="http://schemas.microsoft.com/office/drawing/2010/main" val="0"/>
              </a:ext>
            </a:extLst>
          </a:blip>
          <a:srcRect l="16371" t="5544" r="14547" b="5321"/>
          <a:stretch>
            <a:fillRect/>
          </a:stretch>
        </p:blipFill>
        <p:spPr bwMode="auto">
          <a:xfrm>
            <a:off x="10054652" y="3851901"/>
            <a:ext cx="1181102" cy="114300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descr="Hướng dẫn gói bánh chưng vuông chi tiết | Máy hút mùi - Cung cấp máy hút mùi"/>
          <p:cNvPicPr>
            <a:picLocks noChangeAspect="1" noChangeArrowheads="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foregroundMark x1="40820" y1="38281" x2="60352" y2="38542"/>
                        <a14:foregroundMark x1="67188" y1="29948" x2="61914" y2="44010"/>
                        <a14:foregroundMark x1="66602" y1="38802" x2="76953" y2="39583"/>
                        <a14:foregroundMark x1="75781" y1="54948" x2="48828" y2="50000"/>
                        <a14:foregroundMark x1="26563" y1="51042" x2="50781" y2="53125"/>
                        <a14:foregroundMark x1="27344" y1="49740" x2="46094" y2="50260"/>
                        <a14:foregroundMark x1="32031" y1="59115" x2="31250" y2="80208"/>
                        <a14:foregroundMark x1="44727" y1="60677" x2="43750" y2="80469"/>
                        <a14:foregroundMark x1="57227" y1="61719" x2="56250" y2="78125"/>
                        <a14:foregroundMark x1="57422" y1="51823" x2="73438" y2="52865"/>
                        <a14:foregroundMark x1="56641" y1="50260" x2="73047" y2="51302"/>
                        <a14:foregroundMark x1="23633" y1="78385" x2="23633" y2="78385"/>
                      </a14:backgroundRemoval>
                    </a14:imgEffect>
                  </a14:imgLayer>
                </a14:imgProps>
              </a:ext>
              <a:ext uri="{28A0092B-C50C-407E-A947-70E740481C1C}">
                <a14:useLocalDpi xmlns:a14="http://schemas.microsoft.com/office/drawing/2010/main" val="0"/>
              </a:ext>
            </a:extLst>
          </a:blip>
          <a:srcRect l="16371" t="5544" r="14547" b="5321"/>
          <a:stretch>
            <a:fillRect/>
          </a:stretch>
        </p:blipFill>
        <p:spPr bwMode="auto">
          <a:xfrm>
            <a:off x="10067864" y="3296877"/>
            <a:ext cx="1181102" cy="1143002"/>
          </a:xfrm>
          <a:prstGeom prst="rect">
            <a:avLst/>
          </a:prstGeom>
          <a:noFill/>
          <a:extLst>
            <a:ext uri="{909E8E84-426E-40DD-AFC4-6F175D3DCCD1}">
              <a14:hiddenFill xmlns:a14="http://schemas.microsoft.com/office/drawing/2010/main">
                <a:solidFill>
                  <a:srgbClr val="FFFFFF"/>
                </a:solidFill>
              </a14:hiddenFill>
            </a:ext>
          </a:extLst>
        </p:spPr>
      </p:pic>
      <p:sp>
        <p:nvSpPr>
          <p:cNvPr id="13" name="Hexagon 12">
            <a:hlinkClick r:id="rId11" action="ppaction://hlinksldjump"/>
          </p:cNvPr>
          <p:cNvSpPr/>
          <p:nvPr/>
        </p:nvSpPr>
        <p:spPr>
          <a:xfrm>
            <a:off x="2563698" y="241965"/>
            <a:ext cx="2551181" cy="842198"/>
          </a:xfrm>
          <a:prstGeom prst="hexagon">
            <a:avLst/>
          </a:prstGeom>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60" tIns="68580" rIns="137160" bIns="6858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7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Lá dong</a:t>
            </a:r>
            <a:endParaRPr kumimoji="0" lang="en-US" sz="27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8" name="Hexagon 27">
            <a:hlinkClick r:id="rId12" action="ppaction://hlinksldjump"/>
          </p:cNvPr>
          <p:cNvSpPr/>
          <p:nvPr/>
        </p:nvSpPr>
        <p:spPr>
          <a:xfrm>
            <a:off x="5262680" y="241965"/>
            <a:ext cx="2551181" cy="842198"/>
          </a:xfrm>
          <a:prstGeom prst="hexagon">
            <a:avLst/>
          </a:prstGeom>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60" tIns="68580" rIns="137160" bIns="6858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7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Gạo nếp</a:t>
            </a:r>
            <a:endParaRPr kumimoji="0" lang="en-US" sz="27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9" name="Hexagon 28">
            <a:hlinkClick r:id="rId13" action="ppaction://hlinksldjump"/>
          </p:cNvPr>
          <p:cNvSpPr/>
          <p:nvPr/>
        </p:nvSpPr>
        <p:spPr>
          <a:xfrm>
            <a:off x="7961661" y="241965"/>
            <a:ext cx="2551181" cy="842198"/>
          </a:xfrm>
          <a:prstGeom prst="hexagon">
            <a:avLst/>
          </a:prstGeom>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60" tIns="68580" rIns="137160" bIns="6858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7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Thịt lợn</a:t>
            </a:r>
            <a:endParaRPr kumimoji="0" lang="en-US" sz="27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30" name="Hexagon 29">
            <a:hlinkClick r:id="rId14" action="ppaction://hlinksldjump"/>
          </p:cNvPr>
          <p:cNvSpPr/>
          <p:nvPr/>
        </p:nvSpPr>
        <p:spPr>
          <a:xfrm>
            <a:off x="10660643" y="241965"/>
            <a:ext cx="2551181" cy="842198"/>
          </a:xfrm>
          <a:prstGeom prst="hexagon">
            <a:avLst/>
          </a:prstGeom>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60" tIns="68580" rIns="137160" bIns="6858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7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Đỗ xanh</a:t>
            </a:r>
            <a:endParaRPr kumimoji="0" lang="en-US" sz="27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31" name="Hexagon 30">
            <a:hlinkClick r:id="rId14" action="ppaction://hlinksldjump"/>
          </p:cNvPr>
          <p:cNvSpPr/>
          <p:nvPr/>
        </p:nvSpPr>
        <p:spPr>
          <a:xfrm>
            <a:off x="13359624" y="241965"/>
            <a:ext cx="2551181" cy="842198"/>
          </a:xfrm>
          <a:prstGeom prst="hexagon">
            <a:avLst/>
          </a:prstGeom>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60" tIns="68580" rIns="137160" bIns="6858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7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Khuôn bánh</a:t>
            </a:r>
            <a:endParaRPr kumimoji="0" lang="en-US" sz="27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pic>
        <p:nvPicPr>
          <p:cNvPr id="3084" name="Picture 12" descr="Hình ảnh Mũi Tên, Mũi Tên, Trở Lại, Chỉ Lại Vector và PNG với nền trong  suốt để tải xuống miễn phí">
            <a:hlinkClick r:id="rId15" action="ppaction://hlinksldjump"/>
          </p:cNvPr>
          <p:cNvPicPr>
            <a:picLocks noChangeAspect="1" noChangeArrowheads="1"/>
          </p:cNvPicPr>
          <p:nvPr/>
        </p:nvPicPr>
        <p:blipFill rotWithShape="1">
          <a:blip r:embed="rId16" cstate="print">
            <a:extLst>
              <a:ext uri="{BEBA8EAE-BF5A-486C-A8C5-ECC9F3942E4B}">
                <a14:imgProps xmlns:a14="http://schemas.microsoft.com/office/drawing/2010/main">
                  <a14:imgLayer r:embed="rId17">
                    <a14:imgEffect>
                      <a14:backgroundRemoval t="10000" b="90000" l="10000" r="90000">
                        <a14:foregroundMark x1="46250" y1="35938" x2="42188" y2="60938"/>
                      </a14:backgroundRemoval>
                    </a14:imgEffect>
                  </a14:imgLayer>
                </a14:imgProps>
              </a:ext>
              <a:ext uri="{28A0092B-C50C-407E-A947-70E740481C1C}">
                <a14:useLocalDpi xmlns:a14="http://schemas.microsoft.com/office/drawing/2010/main" val="0"/>
              </a:ext>
            </a:extLst>
          </a:blip>
          <a:srcRect l="12896" t="14413" r="13896" b="15289"/>
          <a:stretch>
            <a:fillRect/>
          </a:stretch>
        </p:blipFill>
        <p:spPr bwMode="auto">
          <a:xfrm flipH="1">
            <a:off x="16635113" y="9067182"/>
            <a:ext cx="1064525" cy="1022204"/>
          </a:xfrm>
          <a:prstGeom prst="rect">
            <a:avLst/>
          </a:prstGeom>
          <a:noFill/>
          <a:extLst>
            <a:ext uri="{909E8E84-426E-40DD-AFC4-6F175D3DCCD1}">
              <a14:hiddenFill xmlns:a14="http://schemas.microsoft.com/office/drawing/2010/main">
                <a:solidFill>
                  <a:srgbClr val="FFFFFF"/>
                </a:solidFill>
              </a14:hiddenFill>
            </a:ext>
          </a:extLst>
        </p:spPr>
      </p:pic>
      <p:pic>
        <p:nvPicPr>
          <p:cNvPr id="3088" name="TET" descr="hình thư pháp, ảnh động thư pháp đẹp, hinh thu phap mien phi"/>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6150740" y="1084163"/>
            <a:ext cx="1491372" cy="1491372"/>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8" descr="C:\Users\Administrator\Downloads\Video\Hinh phao hoa (3).gif"/>
          <p:cNvPicPr>
            <a:picLocks noChangeAspect="1" noChangeArrowheads="1" noCrop="1"/>
          </p:cNvPicPr>
          <p:nvPr/>
        </p:nvPicPr>
        <p:blipFill>
          <a:blip r:embed="rId19"/>
          <a:srcRect/>
          <a:stretch>
            <a:fillRect/>
          </a:stretch>
        </p:blipFill>
        <p:spPr bwMode="auto">
          <a:xfrm>
            <a:off x="8583041" y="1219284"/>
            <a:ext cx="2652713" cy="247155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9" descr="C:\Users\Administrator\Downloads\Video\Hinh phao hoa (4).gif"/>
          <p:cNvPicPr>
            <a:picLocks noChangeAspect="1" noChangeArrowheads="1" noCrop="1"/>
          </p:cNvPicPr>
          <p:nvPr/>
        </p:nvPicPr>
        <p:blipFill>
          <a:blip r:embed="rId20"/>
          <a:srcRect/>
          <a:stretch>
            <a:fillRect/>
          </a:stretch>
        </p:blipFill>
        <p:spPr bwMode="auto">
          <a:xfrm>
            <a:off x="7347168" y="1673261"/>
            <a:ext cx="1714500" cy="1700213"/>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9" descr="C:\Users\Administrator\Downloads\Video\Hinh phao hoa (4).gif"/>
          <p:cNvPicPr>
            <a:picLocks noChangeAspect="1" noChangeArrowheads="1" noCrop="1"/>
          </p:cNvPicPr>
          <p:nvPr/>
        </p:nvPicPr>
        <p:blipFill>
          <a:blip r:embed="rId20"/>
          <a:srcRect/>
          <a:stretch>
            <a:fillRect/>
          </a:stretch>
        </p:blipFill>
        <p:spPr bwMode="auto">
          <a:xfrm>
            <a:off x="10709496" y="1665857"/>
            <a:ext cx="1714500" cy="170021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8" descr="C:\Users\Administrator\Downloads\Video\Hinh phao hoa (3).gif"/>
          <p:cNvPicPr>
            <a:picLocks noChangeAspect="1" noChangeArrowheads="1" noCrop="1"/>
          </p:cNvPicPr>
          <p:nvPr/>
        </p:nvPicPr>
        <p:blipFill>
          <a:blip r:embed="rId19"/>
          <a:srcRect/>
          <a:stretch>
            <a:fillRect/>
          </a:stretch>
        </p:blipFill>
        <p:spPr bwMode="auto">
          <a:xfrm>
            <a:off x="5337398" y="1287590"/>
            <a:ext cx="2652713" cy="247155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Tips làm đẹp cấp tốc 4 ngày cuối năm – Bạn đã biết chưa? | Mỹ thuật, Hoa,  Painting"/>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9689" b="95502" l="1171" r="93443"/>
                    </a14:imgEffect>
                  </a14:imgLayer>
                </a14:imgProps>
              </a:ext>
              <a:ext uri="{28A0092B-C50C-407E-A947-70E740481C1C}">
                <a14:useLocalDpi xmlns:a14="http://schemas.microsoft.com/office/drawing/2010/main" val="0"/>
              </a:ext>
            </a:extLst>
          </a:blip>
          <a:srcRect/>
          <a:stretch>
            <a:fillRect/>
          </a:stretch>
        </p:blipFill>
        <p:spPr bwMode="auto">
          <a:xfrm flipH="1">
            <a:off x="11426226" y="-1285599"/>
            <a:ext cx="6866849" cy="4647585"/>
          </a:xfrm>
          <a:prstGeom prst="rect">
            <a:avLst/>
          </a:prstGeom>
          <a:noFill/>
          <a:extLst>
            <a:ext uri="{909E8E84-426E-40DD-AFC4-6F175D3DCCD1}">
              <a14:hiddenFill xmlns:a14="http://schemas.microsoft.com/office/drawing/2010/main">
                <a:solidFill>
                  <a:srgbClr val="FFFFFF"/>
                </a:solidFill>
              </a14:hiddenFill>
            </a:ext>
          </a:extLst>
        </p:spPr>
      </p:pic>
      <p:sp>
        <p:nvSpPr>
          <p:cNvPr id="33" name="Frame 32"/>
          <p:cNvSpPr/>
          <p:nvPr/>
        </p:nvSpPr>
        <p:spPr>
          <a:xfrm>
            <a:off x="0" y="0"/>
            <a:ext cx="18288000" cy="10287000"/>
          </a:xfrm>
          <a:prstGeom prst="frame">
            <a:avLst>
              <a:gd name="adj1" fmla="val 1528"/>
            </a:avLst>
          </a:prstGeom>
          <a:blipFill>
            <a:blip r:embed="rId2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8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23" restart="whenNotActive" fill="hold" evtFilter="cancelBubble" nodeType="interactiveSeq">
                <p:stCondLst>
                  <p:cond evt="onClick" delay="0">
                    <p:tgtEl>
                      <p:spTgt spid="13"/>
                    </p:tgtEl>
                  </p:cond>
                </p:stCondLst>
                <p:endSync evt="end" delay="0">
                  <p:rtn val="all"/>
                </p:endSync>
                <p:childTnLst>
                  <p:par>
                    <p:cTn id="24" fill="hold">
                      <p:stCondLst>
                        <p:cond delay="0"/>
                      </p:stCondLst>
                      <p:childTnLst>
                        <p:par>
                          <p:cTn id="25" fill="hold">
                            <p:stCondLst>
                              <p:cond delay="0"/>
                            </p:stCondLst>
                            <p:childTnLst>
                              <p:par>
                                <p:cTn id="26" presetID="12" presetClass="exit" presetSubtype="4" fill="hold" grpId="0" nodeType="clickEffect">
                                  <p:stCondLst>
                                    <p:cond delay="0"/>
                                  </p:stCondLst>
                                  <p:childTnLst>
                                    <p:anim calcmode="lin" valueType="num">
                                      <p:cBhvr additive="base">
                                        <p:cTn id="27" dur="500"/>
                                        <p:tgtEl>
                                          <p:spTgt spid="13"/>
                                        </p:tgtEl>
                                        <p:attrNameLst>
                                          <p:attrName>ppt_y</p:attrName>
                                        </p:attrNameLst>
                                      </p:cBhvr>
                                      <p:tavLst>
                                        <p:tav tm="0">
                                          <p:val>
                                            <p:strVal val="#ppt_y"/>
                                          </p:val>
                                        </p:tav>
                                        <p:tav tm="100000">
                                          <p:val>
                                            <p:strVal val="#ppt_y+#ppt_h*1.125000"/>
                                          </p:val>
                                        </p:tav>
                                      </p:tavLst>
                                    </p:anim>
                                    <p:animEffect transition="out" filter="wipe(down)">
                                      <p:cBhvr>
                                        <p:cTn id="28" dur="500"/>
                                        <p:tgtEl>
                                          <p:spTgt spid="13"/>
                                        </p:tgtEl>
                                      </p:cBhvr>
                                    </p:animEffect>
                                    <p:set>
                                      <p:cBhvr>
                                        <p:cTn id="29" dur="1" fill="hold">
                                          <p:stCondLst>
                                            <p:cond delay="499"/>
                                          </p:stCondLst>
                                        </p:cTn>
                                        <p:tgtEl>
                                          <p:spTgt spid="13"/>
                                        </p:tgtEl>
                                        <p:attrNameLst>
                                          <p:attrName>style.visibility</p:attrName>
                                        </p:attrNameLst>
                                      </p:cBhvr>
                                      <p:to>
                                        <p:strVal val="hidden"/>
                                      </p:to>
                                    </p:set>
                                  </p:childTnLst>
                                </p:cTn>
                              </p:par>
                              <p:par>
                                <p:cTn id="30" presetID="47" presetClass="entr" presetSubtype="0" fill="hold"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1000"/>
                                        <p:tgtEl>
                                          <p:spTgt spid="10"/>
                                        </p:tgtEl>
                                      </p:cBhvr>
                                    </p:animEffect>
                                    <p:anim calcmode="lin" valueType="num">
                                      <p:cBhvr>
                                        <p:cTn id="33" dur="1000" fill="hold"/>
                                        <p:tgtEl>
                                          <p:spTgt spid="10"/>
                                        </p:tgtEl>
                                        <p:attrNameLst>
                                          <p:attrName>ppt_x</p:attrName>
                                        </p:attrNameLst>
                                      </p:cBhvr>
                                      <p:tavLst>
                                        <p:tav tm="0">
                                          <p:val>
                                            <p:strVal val="#ppt_x"/>
                                          </p:val>
                                        </p:tav>
                                        <p:tav tm="100000">
                                          <p:val>
                                            <p:strVal val="#ppt_x"/>
                                          </p:val>
                                        </p:tav>
                                      </p:tavLst>
                                    </p:anim>
                                    <p:anim calcmode="lin" valueType="num">
                                      <p:cBhvr>
                                        <p:cTn id="34"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nextCondLst>
                <p:cond evt="onClick" delay="0">
                  <p:tgtEl>
                    <p:spTgt spid="13"/>
                  </p:tgtEl>
                </p:cond>
              </p:nextCondLst>
            </p:seq>
            <p:seq concurrent="1" nextAc="seek">
              <p:cTn id="35" restart="whenNotActive" fill="hold" evtFilter="cancelBubble" nodeType="interactiveSeq">
                <p:stCondLst>
                  <p:cond evt="onClick" delay="0">
                    <p:tgtEl>
                      <p:spTgt spid="28"/>
                    </p:tgtEl>
                  </p:cond>
                </p:stCondLst>
                <p:endSync evt="end" delay="0">
                  <p:rtn val="all"/>
                </p:endSync>
                <p:childTnLst>
                  <p:par>
                    <p:cTn id="36" fill="hold">
                      <p:stCondLst>
                        <p:cond delay="0"/>
                      </p:stCondLst>
                      <p:childTnLst>
                        <p:par>
                          <p:cTn id="37" fill="hold">
                            <p:stCondLst>
                              <p:cond delay="0"/>
                            </p:stCondLst>
                            <p:childTnLst>
                              <p:par>
                                <p:cTn id="38" presetID="12" presetClass="exit" presetSubtype="4" fill="hold" grpId="0" nodeType="clickEffect">
                                  <p:stCondLst>
                                    <p:cond delay="0"/>
                                  </p:stCondLst>
                                  <p:childTnLst>
                                    <p:anim calcmode="lin" valueType="num">
                                      <p:cBhvr additive="base">
                                        <p:cTn id="39" dur="500"/>
                                        <p:tgtEl>
                                          <p:spTgt spid="28"/>
                                        </p:tgtEl>
                                        <p:attrNameLst>
                                          <p:attrName>ppt_y</p:attrName>
                                        </p:attrNameLst>
                                      </p:cBhvr>
                                      <p:tavLst>
                                        <p:tav tm="0">
                                          <p:val>
                                            <p:strVal val="#ppt_y"/>
                                          </p:val>
                                        </p:tav>
                                        <p:tav tm="100000">
                                          <p:val>
                                            <p:strVal val="#ppt_y+#ppt_h*1.125000"/>
                                          </p:val>
                                        </p:tav>
                                      </p:tavLst>
                                    </p:anim>
                                    <p:animEffect transition="out" filter="wipe(down)">
                                      <p:cBhvr>
                                        <p:cTn id="40" dur="500"/>
                                        <p:tgtEl>
                                          <p:spTgt spid="28"/>
                                        </p:tgtEl>
                                      </p:cBhvr>
                                    </p:animEffect>
                                    <p:set>
                                      <p:cBhvr>
                                        <p:cTn id="41" dur="1" fill="hold">
                                          <p:stCondLst>
                                            <p:cond delay="499"/>
                                          </p:stCondLst>
                                        </p:cTn>
                                        <p:tgtEl>
                                          <p:spTgt spid="28"/>
                                        </p:tgtEl>
                                        <p:attrNameLst>
                                          <p:attrName>style.visibility</p:attrName>
                                        </p:attrNameLst>
                                      </p:cBhvr>
                                      <p:to>
                                        <p:strVal val="hidden"/>
                                      </p:to>
                                    </p:set>
                                  </p:childTnLst>
                                </p:cTn>
                              </p:par>
                              <p:par>
                                <p:cTn id="42" presetID="47"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1000"/>
                                        <p:tgtEl>
                                          <p:spTgt spid="11"/>
                                        </p:tgtEl>
                                      </p:cBhvr>
                                    </p:animEffect>
                                    <p:anim calcmode="lin" valueType="num">
                                      <p:cBhvr>
                                        <p:cTn id="45" dur="1000" fill="hold"/>
                                        <p:tgtEl>
                                          <p:spTgt spid="11"/>
                                        </p:tgtEl>
                                        <p:attrNameLst>
                                          <p:attrName>ppt_x</p:attrName>
                                        </p:attrNameLst>
                                      </p:cBhvr>
                                      <p:tavLst>
                                        <p:tav tm="0">
                                          <p:val>
                                            <p:strVal val="#ppt_x"/>
                                          </p:val>
                                        </p:tav>
                                        <p:tav tm="100000">
                                          <p:val>
                                            <p:strVal val="#ppt_x"/>
                                          </p:val>
                                        </p:tav>
                                      </p:tavLst>
                                    </p:anim>
                                    <p:anim calcmode="lin" valueType="num">
                                      <p:cBhvr>
                                        <p:cTn id="4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nextCondLst>
                <p:cond evt="onClick" delay="0">
                  <p:tgtEl>
                    <p:spTgt spid="28"/>
                  </p:tgtEl>
                </p:cond>
              </p:nextCondLst>
            </p:seq>
            <p:seq concurrent="1" nextAc="seek">
              <p:cTn id="47" restart="whenNotActive" fill="hold" evtFilter="cancelBubble" nodeType="interactiveSeq">
                <p:stCondLst>
                  <p:cond evt="onClick" delay="0">
                    <p:tgtEl>
                      <p:spTgt spid="29"/>
                    </p:tgtEl>
                  </p:cond>
                </p:stCondLst>
                <p:endSync evt="end" delay="0">
                  <p:rtn val="all"/>
                </p:endSync>
                <p:childTnLst>
                  <p:par>
                    <p:cTn id="48" fill="hold">
                      <p:stCondLst>
                        <p:cond delay="0"/>
                      </p:stCondLst>
                      <p:childTnLst>
                        <p:par>
                          <p:cTn id="49" fill="hold">
                            <p:stCondLst>
                              <p:cond delay="0"/>
                            </p:stCondLst>
                            <p:childTnLst>
                              <p:par>
                                <p:cTn id="50" presetID="12" presetClass="exit" presetSubtype="4" fill="hold" grpId="0" nodeType="clickEffect">
                                  <p:stCondLst>
                                    <p:cond delay="0"/>
                                  </p:stCondLst>
                                  <p:childTnLst>
                                    <p:anim calcmode="lin" valueType="num">
                                      <p:cBhvr additive="base">
                                        <p:cTn id="51" dur="500"/>
                                        <p:tgtEl>
                                          <p:spTgt spid="29"/>
                                        </p:tgtEl>
                                        <p:attrNameLst>
                                          <p:attrName>ppt_y</p:attrName>
                                        </p:attrNameLst>
                                      </p:cBhvr>
                                      <p:tavLst>
                                        <p:tav tm="0">
                                          <p:val>
                                            <p:strVal val="#ppt_y"/>
                                          </p:val>
                                        </p:tav>
                                        <p:tav tm="100000">
                                          <p:val>
                                            <p:strVal val="#ppt_y+#ppt_h*1.125000"/>
                                          </p:val>
                                        </p:tav>
                                      </p:tavLst>
                                    </p:anim>
                                    <p:animEffect transition="out" filter="wipe(down)">
                                      <p:cBhvr>
                                        <p:cTn id="52" dur="500"/>
                                        <p:tgtEl>
                                          <p:spTgt spid="29"/>
                                        </p:tgtEl>
                                      </p:cBhvr>
                                    </p:animEffect>
                                    <p:set>
                                      <p:cBhvr>
                                        <p:cTn id="53" dur="1" fill="hold">
                                          <p:stCondLst>
                                            <p:cond delay="499"/>
                                          </p:stCondLst>
                                        </p:cTn>
                                        <p:tgtEl>
                                          <p:spTgt spid="29"/>
                                        </p:tgtEl>
                                        <p:attrNameLst>
                                          <p:attrName>style.visibility</p:attrName>
                                        </p:attrNameLst>
                                      </p:cBhvr>
                                      <p:to>
                                        <p:strVal val="hidden"/>
                                      </p:to>
                                    </p:set>
                                  </p:childTnLst>
                                </p:cTn>
                              </p:par>
                              <p:par>
                                <p:cTn id="54" presetID="47" presetClass="entr" presetSubtype="0" fill="hold" nodeType="withEffect">
                                  <p:stCondLst>
                                    <p:cond delay="0"/>
                                  </p:stCondLst>
                                  <p:childTnLst>
                                    <p:set>
                                      <p:cBhvr>
                                        <p:cTn id="55" dur="1" fill="hold">
                                          <p:stCondLst>
                                            <p:cond delay="0"/>
                                          </p:stCondLst>
                                        </p:cTn>
                                        <p:tgtEl>
                                          <p:spTgt spid="8"/>
                                        </p:tgtEl>
                                        <p:attrNameLst>
                                          <p:attrName>style.visibility</p:attrName>
                                        </p:attrNameLst>
                                      </p:cBhvr>
                                      <p:to>
                                        <p:strVal val="visible"/>
                                      </p:to>
                                    </p:set>
                                    <p:animEffect transition="in" filter="fade">
                                      <p:cBhvr>
                                        <p:cTn id="56" dur="1000"/>
                                        <p:tgtEl>
                                          <p:spTgt spid="8"/>
                                        </p:tgtEl>
                                      </p:cBhvr>
                                    </p:animEffect>
                                    <p:anim calcmode="lin" valueType="num">
                                      <p:cBhvr>
                                        <p:cTn id="57" dur="1000" fill="hold"/>
                                        <p:tgtEl>
                                          <p:spTgt spid="8"/>
                                        </p:tgtEl>
                                        <p:attrNameLst>
                                          <p:attrName>ppt_x</p:attrName>
                                        </p:attrNameLst>
                                      </p:cBhvr>
                                      <p:tavLst>
                                        <p:tav tm="0">
                                          <p:val>
                                            <p:strVal val="#ppt_x"/>
                                          </p:val>
                                        </p:tav>
                                        <p:tav tm="100000">
                                          <p:val>
                                            <p:strVal val="#ppt_x"/>
                                          </p:val>
                                        </p:tav>
                                      </p:tavLst>
                                    </p:anim>
                                    <p:anim calcmode="lin" valueType="num">
                                      <p:cBhvr>
                                        <p:cTn id="58"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nextCondLst>
                <p:cond evt="onClick" delay="0">
                  <p:tgtEl>
                    <p:spTgt spid="29"/>
                  </p:tgtEl>
                </p:cond>
              </p:nextCondLst>
            </p:seq>
            <p:seq concurrent="1" nextAc="seek">
              <p:cTn id="59" restart="whenNotActive" fill="hold" evtFilter="cancelBubble" nodeType="interactiveSeq">
                <p:stCondLst>
                  <p:cond evt="onClick" delay="0">
                    <p:tgtEl>
                      <p:spTgt spid="30"/>
                    </p:tgtEl>
                  </p:cond>
                </p:stCondLst>
                <p:endSync evt="end" delay="0">
                  <p:rtn val="all"/>
                </p:endSync>
                <p:childTnLst>
                  <p:par>
                    <p:cTn id="60" fill="hold">
                      <p:stCondLst>
                        <p:cond delay="0"/>
                      </p:stCondLst>
                      <p:childTnLst>
                        <p:par>
                          <p:cTn id="61" fill="hold">
                            <p:stCondLst>
                              <p:cond delay="0"/>
                            </p:stCondLst>
                            <p:childTnLst>
                              <p:par>
                                <p:cTn id="62" presetID="12" presetClass="exit" presetSubtype="4" fill="hold" grpId="0" nodeType="clickEffect">
                                  <p:stCondLst>
                                    <p:cond delay="0"/>
                                  </p:stCondLst>
                                  <p:childTnLst>
                                    <p:anim calcmode="lin" valueType="num">
                                      <p:cBhvr additive="base">
                                        <p:cTn id="63" dur="500"/>
                                        <p:tgtEl>
                                          <p:spTgt spid="30"/>
                                        </p:tgtEl>
                                        <p:attrNameLst>
                                          <p:attrName>ppt_y</p:attrName>
                                        </p:attrNameLst>
                                      </p:cBhvr>
                                      <p:tavLst>
                                        <p:tav tm="0">
                                          <p:val>
                                            <p:strVal val="#ppt_y"/>
                                          </p:val>
                                        </p:tav>
                                        <p:tav tm="100000">
                                          <p:val>
                                            <p:strVal val="#ppt_y+#ppt_h*1.125000"/>
                                          </p:val>
                                        </p:tav>
                                      </p:tavLst>
                                    </p:anim>
                                    <p:animEffect transition="out" filter="wipe(down)">
                                      <p:cBhvr>
                                        <p:cTn id="64" dur="500"/>
                                        <p:tgtEl>
                                          <p:spTgt spid="30"/>
                                        </p:tgtEl>
                                      </p:cBhvr>
                                    </p:animEffect>
                                    <p:set>
                                      <p:cBhvr>
                                        <p:cTn id="65" dur="1" fill="hold">
                                          <p:stCondLst>
                                            <p:cond delay="499"/>
                                          </p:stCondLst>
                                        </p:cTn>
                                        <p:tgtEl>
                                          <p:spTgt spid="30"/>
                                        </p:tgtEl>
                                        <p:attrNameLst>
                                          <p:attrName>style.visibility</p:attrName>
                                        </p:attrNameLst>
                                      </p:cBhvr>
                                      <p:to>
                                        <p:strVal val="hidden"/>
                                      </p:to>
                                    </p:set>
                                  </p:childTnLst>
                                </p:cTn>
                              </p:par>
                              <p:par>
                                <p:cTn id="66" presetID="47" presetClass="entr" presetSubtype="0" fill="hold" nodeType="withEffect">
                                  <p:stCondLst>
                                    <p:cond delay="0"/>
                                  </p:stCondLst>
                                  <p:childTnLst>
                                    <p:set>
                                      <p:cBhvr>
                                        <p:cTn id="67" dur="1" fill="hold">
                                          <p:stCondLst>
                                            <p:cond delay="0"/>
                                          </p:stCondLst>
                                        </p:cTn>
                                        <p:tgtEl>
                                          <p:spTgt spid="12"/>
                                        </p:tgtEl>
                                        <p:attrNameLst>
                                          <p:attrName>style.visibility</p:attrName>
                                        </p:attrNameLst>
                                      </p:cBhvr>
                                      <p:to>
                                        <p:strVal val="visible"/>
                                      </p:to>
                                    </p:set>
                                    <p:animEffect transition="in" filter="fade">
                                      <p:cBhvr>
                                        <p:cTn id="68" dur="1000"/>
                                        <p:tgtEl>
                                          <p:spTgt spid="12"/>
                                        </p:tgtEl>
                                      </p:cBhvr>
                                    </p:animEffect>
                                    <p:anim calcmode="lin" valueType="num">
                                      <p:cBhvr>
                                        <p:cTn id="69" dur="1000" fill="hold"/>
                                        <p:tgtEl>
                                          <p:spTgt spid="12"/>
                                        </p:tgtEl>
                                        <p:attrNameLst>
                                          <p:attrName>ppt_x</p:attrName>
                                        </p:attrNameLst>
                                      </p:cBhvr>
                                      <p:tavLst>
                                        <p:tav tm="0">
                                          <p:val>
                                            <p:strVal val="#ppt_x"/>
                                          </p:val>
                                        </p:tav>
                                        <p:tav tm="100000">
                                          <p:val>
                                            <p:strVal val="#ppt_x"/>
                                          </p:val>
                                        </p:tav>
                                      </p:tavLst>
                                    </p:anim>
                                    <p:anim calcmode="lin" valueType="num">
                                      <p:cBhvr>
                                        <p:cTn id="70"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nextCondLst>
                <p:cond evt="onClick" delay="0">
                  <p:tgtEl>
                    <p:spTgt spid="30"/>
                  </p:tgtEl>
                </p:cond>
              </p:nextCondLst>
            </p:seq>
            <p:seq concurrent="1" nextAc="seek">
              <p:cTn id="71" restart="whenNotActive" fill="hold" evtFilter="cancelBubble" nodeType="interactiveSeq">
                <p:stCondLst>
                  <p:cond evt="onClick" delay="0">
                    <p:tgtEl>
                      <p:spTgt spid="31"/>
                    </p:tgtEl>
                  </p:cond>
                </p:stCondLst>
                <p:endSync evt="end" delay="0">
                  <p:rtn val="all"/>
                </p:endSync>
                <p:childTnLst>
                  <p:par>
                    <p:cTn id="72" fill="hold">
                      <p:stCondLst>
                        <p:cond delay="0"/>
                      </p:stCondLst>
                      <p:childTnLst>
                        <p:par>
                          <p:cTn id="73" fill="hold">
                            <p:stCondLst>
                              <p:cond delay="0"/>
                            </p:stCondLst>
                            <p:childTnLst>
                              <p:par>
                                <p:cTn id="74" presetID="12" presetClass="exit" presetSubtype="4" fill="hold" grpId="0" nodeType="clickEffect">
                                  <p:stCondLst>
                                    <p:cond delay="0"/>
                                  </p:stCondLst>
                                  <p:childTnLst>
                                    <p:anim calcmode="lin" valueType="num">
                                      <p:cBhvr additive="base">
                                        <p:cTn id="75" dur="500"/>
                                        <p:tgtEl>
                                          <p:spTgt spid="31"/>
                                        </p:tgtEl>
                                        <p:attrNameLst>
                                          <p:attrName>ppt_y</p:attrName>
                                        </p:attrNameLst>
                                      </p:cBhvr>
                                      <p:tavLst>
                                        <p:tav tm="0">
                                          <p:val>
                                            <p:strVal val="#ppt_y"/>
                                          </p:val>
                                        </p:tav>
                                        <p:tav tm="100000">
                                          <p:val>
                                            <p:strVal val="#ppt_y+#ppt_h*1.125000"/>
                                          </p:val>
                                        </p:tav>
                                      </p:tavLst>
                                    </p:anim>
                                    <p:animEffect transition="out" filter="wipe(down)">
                                      <p:cBhvr>
                                        <p:cTn id="76" dur="500"/>
                                        <p:tgtEl>
                                          <p:spTgt spid="31"/>
                                        </p:tgtEl>
                                      </p:cBhvr>
                                    </p:animEffect>
                                    <p:set>
                                      <p:cBhvr>
                                        <p:cTn id="77" dur="1" fill="hold">
                                          <p:stCondLst>
                                            <p:cond delay="499"/>
                                          </p:stCondLst>
                                        </p:cTn>
                                        <p:tgtEl>
                                          <p:spTgt spid="31"/>
                                        </p:tgtEl>
                                        <p:attrNameLst>
                                          <p:attrName>style.visibility</p:attrName>
                                        </p:attrNameLst>
                                      </p:cBhvr>
                                      <p:to>
                                        <p:strVal val="hidden"/>
                                      </p:to>
                                    </p:set>
                                  </p:childTnLst>
                                </p:cTn>
                              </p:par>
                              <p:par>
                                <p:cTn id="78" presetID="47" presetClass="entr" presetSubtype="0" fill="hold" nodeType="withEffect">
                                  <p:stCondLst>
                                    <p:cond delay="0"/>
                                  </p:stCondLst>
                                  <p:childTnLst>
                                    <p:set>
                                      <p:cBhvr>
                                        <p:cTn id="79" dur="1" fill="hold">
                                          <p:stCondLst>
                                            <p:cond delay="0"/>
                                          </p:stCondLst>
                                        </p:cTn>
                                        <p:tgtEl>
                                          <p:spTgt spid="3076"/>
                                        </p:tgtEl>
                                        <p:attrNameLst>
                                          <p:attrName>style.visibility</p:attrName>
                                        </p:attrNameLst>
                                      </p:cBhvr>
                                      <p:to>
                                        <p:strVal val="visible"/>
                                      </p:to>
                                    </p:set>
                                    <p:animEffect transition="in" filter="fade">
                                      <p:cBhvr>
                                        <p:cTn id="80" dur="1000"/>
                                        <p:tgtEl>
                                          <p:spTgt spid="3076"/>
                                        </p:tgtEl>
                                      </p:cBhvr>
                                    </p:animEffect>
                                    <p:anim calcmode="lin" valueType="num">
                                      <p:cBhvr>
                                        <p:cTn id="81" dur="1000" fill="hold"/>
                                        <p:tgtEl>
                                          <p:spTgt spid="3076"/>
                                        </p:tgtEl>
                                        <p:attrNameLst>
                                          <p:attrName>ppt_x</p:attrName>
                                        </p:attrNameLst>
                                      </p:cBhvr>
                                      <p:tavLst>
                                        <p:tav tm="0">
                                          <p:val>
                                            <p:strVal val="#ppt_x"/>
                                          </p:val>
                                        </p:tav>
                                        <p:tav tm="100000">
                                          <p:val>
                                            <p:strVal val="#ppt_x"/>
                                          </p:val>
                                        </p:tav>
                                      </p:tavLst>
                                    </p:anim>
                                    <p:anim calcmode="lin" valueType="num">
                                      <p:cBhvr>
                                        <p:cTn id="82" dur="1000" fill="hold"/>
                                        <p:tgtEl>
                                          <p:spTgt spid="3076"/>
                                        </p:tgtEl>
                                        <p:attrNameLst>
                                          <p:attrName>ppt_y</p:attrName>
                                        </p:attrNameLst>
                                      </p:cBhvr>
                                      <p:tavLst>
                                        <p:tav tm="0">
                                          <p:val>
                                            <p:strVal val="#ppt_y-.1"/>
                                          </p:val>
                                        </p:tav>
                                        <p:tav tm="100000">
                                          <p:val>
                                            <p:strVal val="#ppt_y"/>
                                          </p:val>
                                        </p:tav>
                                      </p:tavLst>
                                    </p:anim>
                                  </p:childTnLst>
                                </p:cTn>
                              </p:par>
                            </p:childTnLst>
                          </p:cTn>
                        </p:par>
                      </p:childTnLst>
                    </p:cTn>
                  </p:par>
                </p:childTnLst>
              </p:cTn>
              <p:nextCondLst>
                <p:cond evt="onClick" delay="0">
                  <p:tgtEl>
                    <p:spTgt spid="31"/>
                  </p:tgtEl>
                </p:cond>
              </p:nextCondLst>
            </p:seq>
            <p:seq concurrent="1" nextAc="seek">
              <p:cTn id="83" restart="whenNotActive" fill="hold" evtFilter="cancelBubble" nodeType="interactiveSeq">
                <p:stCondLst>
                  <p:cond evt="onClick" delay="0">
                    <p:tgtEl>
                      <p:spTgt spid="3088"/>
                    </p:tgtEl>
                  </p:cond>
                </p:stCondLst>
                <p:endSync evt="end" delay="0">
                  <p:rtn val="all"/>
                </p:endSync>
                <p:childTnLst>
                  <p:par>
                    <p:cTn id="84" fill="hold">
                      <p:stCondLst>
                        <p:cond delay="0"/>
                      </p:stCondLst>
                      <p:childTnLst>
                        <p:par>
                          <p:cTn id="85" fill="hold">
                            <p:stCondLst>
                              <p:cond delay="0"/>
                            </p:stCondLst>
                            <p:childTnLst>
                              <p:par>
                                <p:cTn id="86" presetID="9" presetClass="entr" presetSubtype="0" fill="hold" nodeType="withEffect">
                                  <p:stCondLst>
                                    <p:cond delay="0"/>
                                  </p:stCondLst>
                                  <p:childTnLst>
                                    <p:set>
                                      <p:cBhvr>
                                        <p:cTn id="87" dur="1" fill="hold">
                                          <p:stCondLst>
                                            <p:cond delay="0"/>
                                          </p:stCondLst>
                                        </p:cTn>
                                        <p:tgtEl>
                                          <p:spTgt spid="3080"/>
                                        </p:tgtEl>
                                        <p:attrNameLst>
                                          <p:attrName>style.visibility</p:attrName>
                                        </p:attrNameLst>
                                      </p:cBhvr>
                                      <p:to>
                                        <p:strVal val="visible"/>
                                      </p:to>
                                    </p:set>
                                    <p:animEffect transition="in" filter="dissolve">
                                      <p:cBhvr>
                                        <p:cTn id="88" dur="500"/>
                                        <p:tgtEl>
                                          <p:spTgt spid="3080"/>
                                        </p:tgtEl>
                                      </p:cBhvr>
                                    </p:animEffect>
                                  </p:childTnLst>
                                  <p:subTnLst>
                                    <p:audio>
                                      <p:cMediaNode>
                                        <p:cTn display="0" masterRel="sameClick">
                                          <p:stCondLst>
                                            <p:cond evt="begin" delay="0">
                                              <p:tn val="86"/>
                                            </p:cond>
                                          </p:stCondLst>
                                          <p:endCondLst>
                                            <p:cond evt="onStopAudio" delay="0">
                                              <p:tgtEl>
                                                <p:sldTgt/>
                                              </p:tgtEl>
                                            </p:cond>
                                          </p:endCondLst>
                                        </p:cTn>
                                        <p:tgtEl>
                                          <p:sndTgt r:embed="rId24" name="applause.wav"/>
                                        </p:tgtEl>
                                      </p:cMediaNode>
                                    </p:audio>
                                  </p:subTnLst>
                                </p:cTn>
                              </p:par>
                              <p:par>
                                <p:cTn id="89" presetID="9" presetClass="entr" presetSubtype="0" fill="hold" nodeType="withEffect">
                                  <p:stCondLst>
                                    <p:cond delay="0"/>
                                  </p:stCondLst>
                                  <p:childTnLst>
                                    <p:set>
                                      <p:cBhvr>
                                        <p:cTn id="90" dur="1" fill="hold">
                                          <p:stCondLst>
                                            <p:cond delay="0"/>
                                          </p:stCondLst>
                                        </p:cTn>
                                        <p:tgtEl>
                                          <p:spTgt spid="18"/>
                                        </p:tgtEl>
                                        <p:attrNameLst>
                                          <p:attrName>style.visibility</p:attrName>
                                        </p:attrNameLst>
                                      </p:cBhvr>
                                      <p:to>
                                        <p:strVal val="visible"/>
                                      </p:to>
                                    </p:set>
                                    <p:animEffect transition="in" filter="dissolve">
                                      <p:cBhvr>
                                        <p:cTn id="91" dur="500"/>
                                        <p:tgtEl>
                                          <p:spTgt spid="18"/>
                                        </p:tgtEl>
                                      </p:cBhvr>
                                    </p:animEffect>
                                  </p:childTnLst>
                                </p:cTn>
                              </p:par>
                              <p:par>
                                <p:cTn id="92" presetID="9" presetClass="entr" presetSubtype="0" fill="hold" nodeType="withEffect">
                                  <p:stCondLst>
                                    <p:cond delay="0"/>
                                  </p:stCondLst>
                                  <p:childTnLst>
                                    <p:set>
                                      <p:cBhvr>
                                        <p:cTn id="93" dur="1" fill="hold">
                                          <p:stCondLst>
                                            <p:cond delay="0"/>
                                          </p:stCondLst>
                                        </p:cTn>
                                        <p:tgtEl>
                                          <p:spTgt spid="19"/>
                                        </p:tgtEl>
                                        <p:attrNameLst>
                                          <p:attrName>style.visibility</p:attrName>
                                        </p:attrNameLst>
                                      </p:cBhvr>
                                      <p:to>
                                        <p:strVal val="visible"/>
                                      </p:to>
                                    </p:set>
                                    <p:animEffect transition="in" filter="dissolve">
                                      <p:cBhvr>
                                        <p:cTn id="94" dur="500"/>
                                        <p:tgtEl>
                                          <p:spTgt spid="19"/>
                                        </p:tgtEl>
                                      </p:cBhvr>
                                    </p:animEffect>
                                  </p:childTnLst>
                                </p:cTn>
                              </p:par>
                              <p:par>
                                <p:cTn id="95" presetID="9" presetClass="entr" presetSubtype="0" fill="hold" nodeType="withEffect">
                                  <p:stCondLst>
                                    <p:cond delay="0"/>
                                  </p:stCondLst>
                                  <p:childTnLst>
                                    <p:set>
                                      <p:cBhvr>
                                        <p:cTn id="96" dur="1" fill="hold">
                                          <p:stCondLst>
                                            <p:cond delay="0"/>
                                          </p:stCondLst>
                                        </p:cTn>
                                        <p:tgtEl>
                                          <p:spTgt spid="20"/>
                                        </p:tgtEl>
                                        <p:attrNameLst>
                                          <p:attrName>style.visibility</p:attrName>
                                        </p:attrNameLst>
                                      </p:cBhvr>
                                      <p:to>
                                        <p:strVal val="visible"/>
                                      </p:to>
                                    </p:set>
                                    <p:animEffect transition="in" filter="dissolve">
                                      <p:cBhvr>
                                        <p:cTn id="97" dur="500"/>
                                        <p:tgtEl>
                                          <p:spTgt spid="20"/>
                                        </p:tgtEl>
                                      </p:cBhvr>
                                    </p:animEffect>
                                  </p:childTnLst>
                                </p:cTn>
                              </p:par>
                              <p:par>
                                <p:cTn id="98" presetID="9" presetClass="entr" presetSubtype="0" fill="hold" nodeType="withEffect">
                                  <p:stCondLst>
                                    <p:cond delay="0"/>
                                  </p:stCondLst>
                                  <p:childTnLst>
                                    <p:set>
                                      <p:cBhvr>
                                        <p:cTn id="99" dur="1" fill="hold">
                                          <p:stCondLst>
                                            <p:cond delay="0"/>
                                          </p:stCondLst>
                                        </p:cTn>
                                        <p:tgtEl>
                                          <p:spTgt spid="21"/>
                                        </p:tgtEl>
                                        <p:attrNameLst>
                                          <p:attrName>style.visibility</p:attrName>
                                        </p:attrNameLst>
                                      </p:cBhvr>
                                      <p:to>
                                        <p:strVal val="visible"/>
                                      </p:to>
                                    </p:set>
                                    <p:animEffect transition="in" filter="dissolve">
                                      <p:cBhvr>
                                        <p:cTn id="100" dur="500"/>
                                        <p:tgtEl>
                                          <p:spTgt spid="21"/>
                                        </p:tgtEl>
                                      </p:cBhvr>
                                    </p:animEffect>
                                  </p:childTnLst>
                                </p:cTn>
                              </p:par>
                              <p:par>
                                <p:cTn id="101" presetID="9" presetClass="entr" presetSubtype="0" fill="hold" nodeType="withEffect">
                                  <p:stCondLst>
                                    <p:cond delay="0"/>
                                  </p:stCondLst>
                                  <p:childTnLst>
                                    <p:set>
                                      <p:cBhvr>
                                        <p:cTn id="102" dur="1" fill="hold">
                                          <p:stCondLst>
                                            <p:cond delay="0"/>
                                          </p:stCondLst>
                                        </p:cTn>
                                        <p:tgtEl>
                                          <p:spTgt spid="22"/>
                                        </p:tgtEl>
                                        <p:attrNameLst>
                                          <p:attrName>style.visibility</p:attrName>
                                        </p:attrNameLst>
                                      </p:cBhvr>
                                      <p:to>
                                        <p:strVal val="visible"/>
                                      </p:to>
                                    </p:set>
                                    <p:animEffect transition="in" filter="dissolve">
                                      <p:cBhvr>
                                        <p:cTn id="103" dur="500"/>
                                        <p:tgtEl>
                                          <p:spTgt spid="22"/>
                                        </p:tgtEl>
                                      </p:cBhvr>
                                    </p:animEffect>
                                  </p:childTnLst>
                                </p:cTn>
                              </p:par>
                              <p:par>
                                <p:cTn id="104" presetID="9" presetClass="entr" presetSubtype="0" fill="hold" nodeType="withEffect">
                                  <p:stCondLst>
                                    <p:cond delay="0"/>
                                  </p:stCondLst>
                                  <p:childTnLst>
                                    <p:set>
                                      <p:cBhvr>
                                        <p:cTn id="105" dur="1" fill="hold">
                                          <p:stCondLst>
                                            <p:cond delay="0"/>
                                          </p:stCondLst>
                                        </p:cTn>
                                        <p:tgtEl>
                                          <p:spTgt spid="23"/>
                                        </p:tgtEl>
                                        <p:attrNameLst>
                                          <p:attrName>style.visibility</p:attrName>
                                        </p:attrNameLst>
                                      </p:cBhvr>
                                      <p:to>
                                        <p:strVal val="visible"/>
                                      </p:to>
                                    </p:set>
                                    <p:animEffect transition="in" filter="dissolve">
                                      <p:cBhvr>
                                        <p:cTn id="106" dur="500"/>
                                        <p:tgtEl>
                                          <p:spTgt spid="23"/>
                                        </p:tgtEl>
                                      </p:cBhvr>
                                    </p:animEffect>
                                  </p:childTnLst>
                                </p:cTn>
                              </p:par>
                              <p:par>
                                <p:cTn id="107" presetID="9" presetClass="entr" presetSubtype="0" fill="hold" nodeType="withEffect">
                                  <p:stCondLst>
                                    <p:cond delay="0"/>
                                  </p:stCondLst>
                                  <p:childTnLst>
                                    <p:set>
                                      <p:cBhvr>
                                        <p:cTn id="108" dur="1" fill="hold">
                                          <p:stCondLst>
                                            <p:cond delay="0"/>
                                          </p:stCondLst>
                                        </p:cTn>
                                        <p:tgtEl>
                                          <p:spTgt spid="24"/>
                                        </p:tgtEl>
                                        <p:attrNameLst>
                                          <p:attrName>style.visibility</p:attrName>
                                        </p:attrNameLst>
                                      </p:cBhvr>
                                      <p:to>
                                        <p:strVal val="visible"/>
                                      </p:to>
                                    </p:set>
                                    <p:animEffect transition="in" filter="dissolve">
                                      <p:cBhvr>
                                        <p:cTn id="109" dur="500"/>
                                        <p:tgtEl>
                                          <p:spTgt spid="24"/>
                                        </p:tgtEl>
                                      </p:cBhvr>
                                    </p:animEffect>
                                  </p:childTnLst>
                                </p:cTn>
                              </p:par>
                              <p:par>
                                <p:cTn id="110" presetID="9" presetClass="entr" presetSubtype="0" fill="hold" nodeType="withEffect">
                                  <p:stCondLst>
                                    <p:cond delay="0"/>
                                  </p:stCondLst>
                                  <p:childTnLst>
                                    <p:set>
                                      <p:cBhvr>
                                        <p:cTn id="111" dur="1" fill="hold">
                                          <p:stCondLst>
                                            <p:cond delay="0"/>
                                          </p:stCondLst>
                                        </p:cTn>
                                        <p:tgtEl>
                                          <p:spTgt spid="25"/>
                                        </p:tgtEl>
                                        <p:attrNameLst>
                                          <p:attrName>style.visibility</p:attrName>
                                        </p:attrNameLst>
                                      </p:cBhvr>
                                      <p:to>
                                        <p:strVal val="visible"/>
                                      </p:to>
                                    </p:set>
                                    <p:animEffect transition="in" filter="dissolve">
                                      <p:cBhvr>
                                        <p:cTn id="112" dur="500"/>
                                        <p:tgtEl>
                                          <p:spTgt spid="25"/>
                                        </p:tgtEl>
                                      </p:cBhvr>
                                    </p:animEffect>
                                  </p:childTnLst>
                                </p:cTn>
                              </p:par>
                              <p:par>
                                <p:cTn id="113" presetID="42" presetClass="entr" presetSubtype="0" fill="hold" nodeType="withEffect">
                                  <p:stCondLst>
                                    <p:cond delay="0"/>
                                  </p:stCondLst>
                                  <p:childTnLst>
                                    <p:set>
                                      <p:cBhvr>
                                        <p:cTn id="114" dur="1" fill="hold">
                                          <p:stCondLst>
                                            <p:cond delay="0"/>
                                          </p:stCondLst>
                                        </p:cTn>
                                        <p:tgtEl>
                                          <p:spTgt spid="39"/>
                                        </p:tgtEl>
                                        <p:attrNameLst>
                                          <p:attrName>style.visibility</p:attrName>
                                        </p:attrNameLst>
                                      </p:cBhvr>
                                      <p:to>
                                        <p:strVal val="visible"/>
                                      </p:to>
                                    </p:set>
                                    <p:animEffect transition="in" filter="fade">
                                      <p:cBhvr>
                                        <p:cTn id="115" dur="1000"/>
                                        <p:tgtEl>
                                          <p:spTgt spid="39"/>
                                        </p:tgtEl>
                                      </p:cBhvr>
                                    </p:animEffect>
                                    <p:anim calcmode="lin" valueType="num">
                                      <p:cBhvr>
                                        <p:cTn id="116" dur="1000" fill="hold"/>
                                        <p:tgtEl>
                                          <p:spTgt spid="39"/>
                                        </p:tgtEl>
                                        <p:attrNameLst>
                                          <p:attrName>ppt_x</p:attrName>
                                        </p:attrNameLst>
                                      </p:cBhvr>
                                      <p:tavLst>
                                        <p:tav tm="0">
                                          <p:val>
                                            <p:strVal val="#ppt_x"/>
                                          </p:val>
                                        </p:tav>
                                        <p:tav tm="100000">
                                          <p:val>
                                            <p:strVal val="#ppt_x"/>
                                          </p:val>
                                        </p:tav>
                                      </p:tavLst>
                                    </p:anim>
                                    <p:anim calcmode="lin" valueType="num">
                                      <p:cBhvr>
                                        <p:cTn id="117" dur="1000" fill="hold"/>
                                        <p:tgtEl>
                                          <p:spTgt spid="39"/>
                                        </p:tgtEl>
                                        <p:attrNameLst>
                                          <p:attrName>ppt_y</p:attrName>
                                        </p:attrNameLst>
                                      </p:cBhvr>
                                      <p:tavLst>
                                        <p:tav tm="0">
                                          <p:val>
                                            <p:strVal val="#ppt_y+.1"/>
                                          </p:val>
                                        </p:tav>
                                        <p:tav tm="100000">
                                          <p:val>
                                            <p:strVal val="#ppt_y"/>
                                          </p:val>
                                        </p:tav>
                                      </p:tavLst>
                                    </p:anim>
                                  </p:childTnLst>
                                </p:cTn>
                              </p:par>
                              <p:par>
                                <p:cTn id="118" presetID="42" presetClass="entr" presetSubtype="0" fill="hold" nodeType="withEffect">
                                  <p:stCondLst>
                                    <p:cond delay="0"/>
                                  </p:stCondLst>
                                  <p:childTnLst>
                                    <p:set>
                                      <p:cBhvr>
                                        <p:cTn id="119" dur="1" fill="hold">
                                          <p:stCondLst>
                                            <p:cond delay="0"/>
                                          </p:stCondLst>
                                        </p:cTn>
                                        <p:tgtEl>
                                          <p:spTgt spid="37"/>
                                        </p:tgtEl>
                                        <p:attrNameLst>
                                          <p:attrName>style.visibility</p:attrName>
                                        </p:attrNameLst>
                                      </p:cBhvr>
                                      <p:to>
                                        <p:strVal val="visible"/>
                                      </p:to>
                                    </p:set>
                                    <p:animEffect transition="in" filter="fade">
                                      <p:cBhvr>
                                        <p:cTn id="120" dur="1000"/>
                                        <p:tgtEl>
                                          <p:spTgt spid="37"/>
                                        </p:tgtEl>
                                      </p:cBhvr>
                                    </p:animEffect>
                                    <p:anim calcmode="lin" valueType="num">
                                      <p:cBhvr>
                                        <p:cTn id="121" dur="1000" fill="hold"/>
                                        <p:tgtEl>
                                          <p:spTgt spid="37"/>
                                        </p:tgtEl>
                                        <p:attrNameLst>
                                          <p:attrName>ppt_x</p:attrName>
                                        </p:attrNameLst>
                                      </p:cBhvr>
                                      <p:tavLst>
                                        <p:tav tm="0">
                                          <p:val>
                                            <p:strVal val="#ppt_x"/>
                                          </p:val>
                                        </p:tav>
                                        <p:tav tm="100000">
                                          <p:val>
                                            <p:strVal val="#ppt_x"/>
                                          </p:val>
                                        </p:tav>
                                      </p:tavLst>
                                    </p:anim>
                                    <p:anim calcmode="lin" valueType="num">
                                      <p:cBhvr>
                                        <p:cTn id="122" dur="1000" fill="hold"/>
                                        <p:tgtEl>
                                          <p:spTgt spid="37"/>
                                        </p:tgtEl>
                                        <p:attrNameLst>
                                          <p:attrName>ppt_y</p:attrName>
                                        </p:attrNameLst>
                                      </p:cBhvr>
                                      <p:tavLst>
                                        <p:tav tm="0">
                                          <p:val>
                                            <p:strVal val="#ppt_y+.1"/>
                                          </p:val>
                                        </p:tav>
                                        <p:tav tm="100000">
                                          <p:val>
                                            <p:strVal val="#ppt_y"/>
                                          </p:val>
                                        </p:tav>
                                      </p:tavLst>
                                    </p:anim>
                                  </p:childTnLst>
                                </p:cTn>
                              </p:par>
                              <p:par>
                                <p:cTn id="123" presetID="42" presetClass="entr" presetSubtype="0" fill="hold" nodeType="withEffect">
                                  <p:stCondLst>
                                    <p:cond delay="0"/>
                                  </p:stCondLst>
                                  <p:childTnLst>
                                    <p:set>
                                      <p:cBhvr>
                                        <p:cTn id="124" dur="1" fill="hold">
                                          <p:stCondLst>
                                            <p:cond delay="0"/>
                                          </p:stCondLst>
                                        </p:cTn>
                                        <p:tgtEl>
                                          <p:spTgt spid="36"/>
                                        </p:tgtEl>
                                        <p:attrNameLst>
                                          <p:attrName>style.visibility</p:attrName>
                                        </p:attrNameLst>
                                      </p:cBhvr>
                                      <p:to>
                                        <p:strVal val="visible"/>
                                      </p:to>
                                    </p:set>
                                    <p:animEffect transition="in" filter="fade">
                                      <p:cBhvr>
                                        <p:cTn id="125" dur="1000"/>
                                        <p:tgtEl>
                                          <p:spTgt spid="36"/>
                                        </p:tgtEl>
                                      </p:cBhvr>
                                    </p:animEffect>
                                    <p:anim calcmode="lin" valueType="num">
                                      <p:cBhvr>
                                        <p:cTn id="126" dur="1000" fill="hold"/>
                                        <p:tgtEl>
                                          <p:spTgt spid="36"/>
                                        </p:tgtEl>
                                        <p:attrNameLst>
                                          <p:attrName>ppt_x</p:attrName>
                                        </p:attrNameLst>
                                      </p:cBhvr>
                                      <p:tavLst>
                                        <p:tav tm="0">
                                          <p:val>
                                            <p:strVal val="#ppt_x"/>
                                          </p:val>
                                        </p:tav>
                                        <p:tav tm="100000">
                                          <p:val>
                                            <p:strVal val="#ppt_x"/>
                                          </p:val>
                                        </p:tav>
                                      </p:tavLst>
                                    </p:anim>
                                    <p:anim calcmode="lin" valueType="num">
                                      <p:cBhvr>
                                        <p:cTn id="127" dur="1000" fill="hold"/>
                                        <p:tgtEl>
                                          <p:spTgt spid="36"/>
                                        </p:tgtEl>
                                        <p:attrNameLst>
                                          <p:attrName>ppt_y</p:attrName>
                                        </p:attrNameLst>
                                      </p:cBhvr>
                                      <p:tavLst>
                                        <p:tav tm="0">
                                          <p:val>
                                            <p:strVal val="#ppt_y+.1"/>
                                          </p:val>
                                        </p:tav>
                                        <p:tav tm="100000">
                                          <p:val>
                                            <p:strVal val="#ppt_y"/>
                                          </p:val>
                                        </p:tav>
                                      </p:tavLst>
                                    </p:anim>
                                  </p:childTnLst>
                                </p:cTn>
                              </p:par>
                              <p:par>
                                <p:cTn id="128" presetID="42" presetClass="entr" presetSubtype="0" fill="hold" nodeType="withEffect">
                                  <p:stCondLst>
                                    <p:cond delay="0"/>
                                  </p:stCondLst>
                                  <p:childTnLst>
                                    <p:set>
                                      <p:cBhvr>
                                        <p:cTn id="129" dur="1" fill="hold">
                                          <p:stCondLst>
                                            <p:cond delay="0"/>
                                          </p:stCondLst>
                                        </p:cTn>
                                        <p:tgtEl>
                                          <p:spTgt spid="38"/>
                                        </p:tgtEl>
                                        <p:attrNameLst>
                                          <p:attrName>style.visibility</p:attrName>
                                        </p:attrNameLst>
                                      </p:cBhvr>
                                      <p:to>
                                        <p:strVal val="visible"/>
                                      </p:to>
                                    </p:set>
                                    <p:animEffect transition="in" filter="fade">
                                      <p:cBhvr>
                                        <p:cTn id="130" dur="1000"/>
                                        <p:tgtEl>
                                          <p:spTgt spid="38"/>
                                        </p:tgtEl>
                                      </p:cBhvr>
                                    </p:animEffect>
                                    <p:anim calcmode="lin" valueType="num">
                                      <p:cBhvr>
                                        <p:cTn id="131" dur="1000" fill="hold"/>
                                        <p:tgtEl>
                                          <p:spTgt spid="38"/>
                                        </p:tgtEl>
                                        <p:attrNameLst>
                                          <p:attrName>ppt_x</p:attrName>
                                        </p:attrNameLst>
                                      </p:cBhvr>
                                      <p:tavLst>
                                        <p:tav tm="0">
                                          <p:val>
                                            <p:strVal val="#ppt_x"/>
                                          </p:val>
                                        </p:tav>
                                        <p:tav tm="100000">
                                          <p:val>
                                            <p:strVal val="#ppt_x"/>
                                          </p:val>
                                        </p:tav>
                                      </p:tavLst>
                                    </p:anim>
                                    <p:anim calcmode="lin" valueType="num">
                                      <p:cBhvr>
                                        <p:cTn id="132" dur="1000" fill="hold"/>
                                        <p:tgtEl>
                                          <p:spTgt spid="38"/>
                                        </p:tgtEl>
                                        <p:attrNameLst>
                                          <p:attrName>ppt_y</p:attrName>
                                        </p:attrNameLst>
                                      </p:cBhvr>
                                      <p:tavLst>
                                        <p:tav tm="0">
                                          <p:val>
                                            <p:strVal val="#ppt_y+.1"/>
                                          </p:val>
                                        </p:tav>
                                        <p:tav tm="100000">
                                          <p:val>
                                            <p:strVal val="#ppt_y"/>
                                          </p:val>
                                        </p:tav>
                                      </p:tavLst>
                                    </p:anim>
                                  </p:childTnLst>
                                </p:cTn>
                              </p:par>
                              <p:par>
                                <p:cTn id="133" presetID="22" presetClass="entr" presetSubtype="4" fill="hold" nodeType="withEffect">
                                  <p:stCondLst>
                                    <p:cond delay="0"/>
                                  </p:stCondLst>
                                  <p:childTnLst>
                                    <p:set>
                                      <p:cBhvr>
                                        <p:cTn id="134" dur="1" fill="hold">
                                          <p:stCondLst>
                                            <p:cond delay="0"/>
                                          </p:stCondLst>
                                        </p:cTn>
                                        <p:tgtEl>
                                          <p:spTgt spid="2050"/>
                                        </p:tgtEl>
                                        <p:attrNameLst>
                                          <p:attrName>style.visibility</p:attrName>
                                        </p:attrNameLst>
                                      </p:cBhvr>
                                      <p:to>
                                        <p:strVal val="visible"/>
                                      </p:to>
                                    </p:set>
                                    <p:animEffect transition="in" filter="wipe(down)">
                                      <p:cBhvr>
                                        <p:cTn id="135" dur="500"/>
                                        <p:tgtEl>
                                          <p:spTgt spid="2050"/>
                                        </p:tgtEl>
                                      </p:cBhvr>
                                    </p:animEffect>
                                  </p:childTnLst>
                                </p:cTn>
                              </p:par>
                              <p:par>
                                <p:cTn id="136" presetID="22" presetClass="entr" presetSubtype="4" fill="hold" nodeType="withEffect">
                                  <p:stCondLst>
                                    <p:cond delay="0"/>
                                  </p:stCondLst>
                                  <p:childTnLst>
                                    <p:set>
                                      <p:cBhvr>
                                        <p:cTn id="137" dur="1" fill="hold">
                                          <p:stCondLst>
                                            <p:cond delay="0"/>
                                          </p:stCondLst>
                                        </p:cTn>
                                        <p:tgtEl>
                                          <p:spTgt spid="32"/>
                                        </p:tgtEl>
                                        <p:attrNameLst>
                                          <p:attrName>style.visibility</p:attrName>
                                        </p:attrNameLst>
                                      </p:cBhvr>
                                      <p:to>
                                        <p:strVal val="visible"/>
                                      </p:to>
                                    </p:set>
                                    <p:animEffect transition="in" filter="wipe(down)">
                                      <p:cBhvr>
                                        <p:cTn id="138" dur="500"/>
                                        <p:tgtEl>
                                          <p:spTgt spid="32"/>
                                        </p:tgtEl>
                                      </p:cBhvr>
                                    </p:animEffect>
                                  </p:childTnLst>
                                </p:cTn>
                              </p:par>
                            </p:childTnLst>
                          </p:cTn>
                        </p:par>
                      </p:childTnLst>
                    </p:cTn>
                  </p:par>
                </p:childTnLst>
              </p:cTn>
              <p:nextCondLst>
                <p:cond evt="onClick" delay="0">
                  <p:tgtEl>
                    <p:spTgt spid="3088"/>
                  </p:tgtEl>
                </p:cond>
              </p:nextCondLst>
            </p:seq>
          </p:childTnLst>
        </p:cTn>
      </p:par>
    </p:tnLst>
    <p:bldLst>
      <p:bldP spid="13" grpId="0" bldLvl="0" animBg="1"/>
      <p:bldP spid="28" grpId="0" bldLvl="0" animBg="1"/>
      <p:bldP spid="29" grpId="0" bldLvl="0" animBg="1"/>
      <p:bldP spid="30" grpId="0" bldLvl="0" animBg="1"/>
      <p:bldP spid="31" grpId="0" bldLvl="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1">
            <a:extLst>
              <a:ext uri="{28A0092B-C50C-407E-A947-70E740481C1C}">
                <a14:useLocalDpi xmlns:a14="http://schemas.microsoft.com/office/drawing/2010/main" val="0"/>
              </a:ext>
            </a:extLst>
          </a:blip>
          <a:srcRect b="24227"/>
          <a:stretch>
            <a:fillRect/>
          </a:stretch>
        </p:blipFill>
        <p:spPr>
          <a:xfrm>
            <a:off x="2141339" y="2492298"/>
            <a:ext cx="13716000" cy="7794702"/>
          </a:xfrm>
          <a:prstGeom prst="rect">
            <a:avLst/>
          </a:prstGeom>
        </p:spPr>
      </p:pic>
      <p:sp>
        <p:nvSpPr>
          <p:cNvPr id="3" name="TextBox 2"/>
          <p:cNvSpPr txBox="1"/>
          <p:nvPr/>
        </p:nvSpPr>
        <p:spPr>
          <a:xfrm>
            <a:off x="2910772" y="3614861"/>
            <a:ext cx="12177132" cy="6451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C1.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Nhà</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nước</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Văn</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Lang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được</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hình</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thành</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vào</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thời</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gian</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nào</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a:t>
            </a:r>
            <a:endParaRPr kumimoji="0" lang="vi-VN"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0" name="A"/>
          <p:cNvSpPr/>
          <p:nvPr/>
        </p:nvSpPr>
        <p:spPr>
          <a:xfrm>
            <a:off x="2533229" y="6122418"/>
            <a:ext cx="6204546" cy="1191990"/>
          </a:xfrm>
          <a:custGeom>
            <a:avLst/>
            <a:gdLst>
              <a:gd name="connsiteX0" fmla="*/ 0 w 4056063"/>
              <a:gd name="connsiteY0" fmla="*/ 0 h 794660"/>
              <a:gd name="connsiteX1" fmla="*/ 3642405 w 4056063"/>
              <a:gd name="connsiteY1" fmla="*/ 0 h 794660"/>
              <a:gd name="connsiteX2" fmla="*/ 3642405 w 4056063"/>
              <a:gd name="connsiteY2" fmla="*/ 1 h 794660"/>
              <a:gd name="connsiteX3" fmla="*/ 4056063 w 4056063"/>
              <a:gd name="connsiteY3" fmla="*/ 397331 h 794660"/>
              <a:gd name="connsiteX4" fmla="*/ 3642405 w 4056063"/>
              <a:gd name="connsiteY4" fmla="*/ 794660 h 794660"/>
              <a:gd name="connsiteX5" fmla="*/ 3642405 w 4056063"/>
              <a:gd name="connsiteY5" fmla="*/ 794658 h 794660"/>
              <a:gd name="connsiteX6" fmla="*/ 0 w 4056063"/>
              <a:gd name="connsiteY6" fmla="*/ 794658 h 7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6063" h="794660">
                <a:moveTo>
                  <a:pt x="0" y="0"/>
                </a:moveTo>
                <a:lnTo>
                  <a:pt x="3642405" y="0"/>
                </a:lnTo>
                <a:lnTo>
                  <a:pt x="3642405" y="1"/>
                </a:lnTo>
                <a:lnTo>
                  <a:pt x="4056063" y="397331"/>
                </a:lnTo>
                <a:lnTo>
                  <a:pt x="3642405" y="794660"/>
                </a:lnTo>
                <a:lnTo>
                  <a:pt x="3642405" y="794658"/>
                </a:lnTo>
                <a:lnTo>
                  <a:pt x="0" y="794658"/>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700" b="0" i="0" u="none" strike="noStrike" kern="1200" cap="none" spc="0" normalizeH="0" baseline="0" noProof="0" dirty="0">
                <a:ln>
                  <a:noFill/>
                </a:ln>
                <a:solidFill>
                  <a:prstClr val="white"/>
                </a:solidFill>
                <a:effectLst/>
                <a:uLnTx/>
                <a:uFillTx/>
                <a:latin typeface="Calibri" panose="020F0502020204030204"/>
                <a:ea typeface="+mn-ea"/>
                <a:cs typeface="+mn-cs"/>
              </a:rPr>
              <a:t>THẾ</a:t>
            </a:r>
            <a:r>
              <a:rPr kumimoji="0" lang="en-US" sz="2700" b="0" i="0" u="none" strike="noStrike" kern="1200" cap="none" spc="0" normalizeH="0" noProof="0" dirty="0">
                <a:ln>
                  <a:noFill/>
                </a:ln>
                <a:solidFill>
                  <a:prstClr val="white"/>
                </a:solidFill>
                <a:effectLst/>
                <a:uLnTx/>
                <a:uFillTx/>
                <a:latin typeface="Calibri" panose="020F0502020204030204"/>
                <a:ea typeface="+mn-ea"/>
                <a:cs typeface="+mn-cs"/>
              </a:rPr>
              <a:t> KỈ VII TCN</a:t>
            </a:r>
            <a:endParaRPr kumimoji="0" lang="vi-VN" sz="27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1" name="B"/>
          <p:cNvSpPr/>
          <p:nvPr/>
        </p:nvSpPr>
        <p:spPr>
          <a:xfrm>
            <a:off x="2565885" y="7869575"/>
            <a:ext cx="6204546" cy="1191990"/>
          </a:xfrm>
          <a:custGeom>
            <a:avLst/>
            <a:gdLst>
              <a:gd name="connsiteX0" fmla="*/ 0 w 4056063"/>
              <a:gd name="connsiteY0" fmla="*/ 0 h 794660"/>
              <a:gd name="connsiteX1" fmla="*/ 3642405 w 4056063"/>
              <a:gd name="connsiteY1" fmla="*/ 0 h 794660"/>
              <a:gd name="connsiteX2" fmla="*/ 3642405 w 4056063"/>
              <a:gd name="connsiteY2" fmla="*/ 1 h 794660"/>
              <a:gd name="connsiteX3" fmla="*/ 4056063 w 4056063"/>
              <a:gd name="connsiteY3" fmla="*/ 397331 h 794660"/>
              <a:gd name="connsiteX4" fmla="*/ 3642405 w 4056063"/>
              <a:gd name="connsiteY4" fmla="*/ 794660 h 794660"/>
              <a:gd name="connsiteX5" fmla="*/ 3642405 w 4056063"/>
              <a:gd name="connsiteY5" fmla="*/ 794658 h 794660"/>
              <a:gd name="connsiteX6" fmla="*/ 0 w 4056063"/>
              <a:gd name="connsiteY6" fmla="*/ 794658 h 7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6063" h="794660">
                <a:moveTo>
                  <a:pt x="0" y="0"/>
                </a:moveTo>
                <a:lnTo>
                  <a:pt x="3642405" y="0"/>
                </a:lnTo>
                <a:lnTo>
                  <a:pt x="3642405" y="1"/>
                </a:lnTo>
                <a:lnTo>
                  <a:pt x="4056063" y="397331"/>
                </a:lnTo>
                <a:lnTo>
                  <a:pt x="3642405" y="794660"/>
                </a:lnTo>
                <a:lnTo>
                  <a:pt x="3642405" y="794658"/>
                </a:lnTo>
                <a:lnTo>
                  <a:pt x="0" y="794658"/>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700" b="0" i="0" u="none" strike="noStrike" kern="1200" cap="none" spc="0" normalizeH="0" baseline="0" noProof="0" dirty="0">
                <a:ln>
                  <a:noFill/>
                </a:ln>
                <a:solidFill>
                  <a:prstClr val="white"/>
                </a:solidFill>
                <a:effectLst/>
                <a:uLnTx/>
                <a:uFillTx/>
                <a:latin typeface="Calibri" panose="020F0502020204030204"/>
                <a:ea typeface="+mn-ea"/>
                <a:cs typeface="+mn-cs"/>
              </a:rPr>
              <a:t>THIÊN</a:t>
            </a:r>
            <a:r>
              <a:rPr kumimoji="0" lang="en-US" sz="2700" b="0" i="0" u="none" strike="noStrike" kern="1200" cap="none" spc="0" normalizeH="0" noProof="0" dirty="0">
                <a:ln>
                  <a:noFill/>
                </a:ln>
                <a:solidFill>
                  <a:prstClr val="white"/>
                </a:solidFill>
                <a:effectLst/>
                <a:uLnTx/>
                <a:uFillTx/>
                <a:latin typeface="Calibri" panose="020F0502020204030204"/>
                <a:ea typeface="+mn-ea"/>
                <a:cs typeface="+mn-cs"/>
              </a:rPr>
              <a:t> NIÊN KỈ II TCN</a:t>
            </a:r>
            <a:endParaRPr kumimoji="0" lang="vi-VN" sz="27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2" name="C"/>
          <p:cNvSpPr/>
          <p:nvPr/>
        </p:nvSpPr>
        <p:spPr>
          <a:xfrm flipH="1">
            <a:off x="9227636" y="6122418"/>
            <a:ext cx="6198393" cy="1191990"/>
          </a:xfrm>
          <a:custGeom>
            <a:avLst/>
            <a:gdLst>
              <a:gd name="connsiteX0" fmla="*/ 0 w 4056063"/>
              <a:gd name="connsiteY0" fmla="*/ 0 h 794660"/>
              <a:gd name="connsiteX1" fmla="*/ 3642405 w 4056063"/>
              <a:gd name="connsiteY1" fmla="*/ 0 h 794660"/>
              <a:gd name="connsiteX2" fmla="*/ 3642405 w 4056063"/>
              <a:gd name="connsiteY2" fmla="*/ 1 h 794660"/>
              <a:gd name="connsiteX3" fmla="*/ 4056063 w 4056063"/>
              <a:gd name="connsiteY3" fmla="*/ 397331 h 794660"/>
              <a:gd name="connsiteX4" fmla="*/ 3642405 w 4056063"/>
              <a:gd name="connsiteY4" fmla="*/ 794660 h 794660"/>
              <a:gd name="connsiteX5" fmla="*/ 3642405 w 4056063"/>
              <a:gd name="connsiteY5" fmla="*/ 794658 h 794660"/>
              <a:gd name="connsiteX6" fmla="*/ 0 w 4056063"/>
              <a:gd name="connsiteY6" fmla="*/ 794658 h 7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6063" h="794660">
                <a:moveTo>
                  <a:pt x="0" y="0"/>
                </a:moveTo>
                <a:lnTo>
                  <a:pt x="3642405" y="0"/>
                </a:lnTo>
                <a:lnTo>
                  <a:pt x="3642405" y="1"/>
                </a:lnTo>
                <a:lnTo>
                  <a:pt x="4056063" y="397331"/>
                </a:lnTo>
                <a:lnTo>
                  <a:pt x="3642405" y="794660"/>
                </a:lnTo>
                <a:lnTo>
                  <a:pt x="3642405" y="794658"/>
                </a:lnTo>
                <a:lnTo>
                  <a:pt x="0" y="794658"/>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700" b="0" i="0" u="none" strike="noStrike" kern="1200" cap="none" spc="0" normalizeH="0" baseline="0" noProof="0" dirty="0">
                <a:ln>
                  <a:noFill/>
                </a:ln>
                <a:solidFill>
                  <a:prstClr val="white"/>
                </a:solidFill>
                <a:effectLst/>
                <a:uLnTx/>
                <a:uFillTx/>
                <a:latin typeface="Calibri" panose="020F0502020204030204"/>
                <a:ea typeface="+mn-ea"/>
                <a:cs typeface="+mn-cs"/>
              </a:rPr>
              <a:t>THIÊN</a:t>
            </a:r>
            <a:r>
              <a:rPr kumimoji="0" lang="en-US" sz="2700" b="0" i="0" u="none" strike="noStrike" kern="1200" cap="none" spc="0" normalizeH="0" noProof="0" dirty="0">
                <a:ln>
                  <a:noFill/>
                </a:ln>
                <a:solidFill>
                  <a:prstClr val="white"/>
                </a:solidFill>
                <a:effectLst/>
                <a:uLnTx/>
                <a:uFillTx/>
                <a:latin typeface="Calibri" panose="020F0502020204030204"/>
                <a:ea typeface="+mn-ea"/>
                <a:cs typeface="+mn-cs"/>
              </a:rPr>
              <a:t> NIÊN KỈ IV TCN</a:t>
            </a:r>
            <a:endParaRPr kumimoji="0" lang="vi-VN" sz="27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3" name="D"/>
          <p:cNvSpPr/>
          <p:nvPr/>
        </p:nvSpPr>
        <p:spPr>
          <a:xfrm flipH="1">
            <a:off x="9227634" y="7869575"/>
            <a:ext cx="6198393" cy="1191990"/>
          </a:xfrm>
          <a:custGeom>
            <a:avLst/>
            <a:gdLst>
              <a:gd name="connsiteX0" fmla="*/ 0 w 4056063"/>
              <a:gd name="connsiteY0" fmla="*/ 0 h 794660"/>
              <a:gd name="connsiteX1" fmla="*/ 3642405 w 4056063"/>
              <a:gd name="connsiteY1" fmla="*/ 0 h 794660"/>
              <a:gd name="connsiteX2" fmla="*/ 3642405 w 4056063"/>
              <a:gd name="connsiteY2" fmla="*/ 1 h 794660"/>
              <a:gd name="connsiteX3" fmla="*/ 4056063 w 4056063"/>
              <a:gd name="connsiteY3" fmla="*/ 397331 h 794660"/>
              <a:gd name="connsiteX4" fmla="*/ 3642405 w 4056063"/>
              <a:gd name="connsiteY4" fmla="*/ 794660 h 794660"/>
              <a:gd name="connsiteX5" fmla="*/ 3642405 w 4056063"/>
              <a:gd name="connsiteY5" fmla="*/ 794658 h 794660"/>
              <a:gd name="connsiteX6" fmla="*/ 0 w 4056063"/>
              <a:gd name="connsiteY6" fmla="*/ 794658 h 7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6063" h="794660">
                <a:moveTo>
                  <a:pt x="0" y="0"/>
                </a:moveTo>
                <a:lnTo>
                  <a:pt x="3642405" y="0"/>
                </a:lnTo>
                <a:lnTo>
                  <a:pt x="3642405" y="1"/>
                </a:lnTo>
                <a:lnTo>
                  <a:pt x="4056063" y="397331"/>
                </a:lnTo>
                <a:lnTo>
                  <a:pt x="3642405" y="794660"/>
                </a:lnTo>
                <a:lnTo>
                  <a:pt x="3642405" y="794658"/>
                </a:lnTo>
                <a:lnTo>
                  <a:pt x="0" y="794658"/>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700" b="0" i="0" u="none" strike="noStrike" kern="1200" cap="none" spc="0" normalizeH="0" baseline="0" noProof="0" dirty="0">
                <a:ln>
                  <a:noFill/>
                </a:ln>
                <a:solidFill>
                  <a:prstClr val="white"/>
                </a:solidFill>
                <a:effectLst/>
                <a:uLnTx/>
                <a:uFillTx/>
                <a:latin typeface="Calibri" panose="020F0502020204030204"/>
                <a:ea typeface="+mn-ea"/>
                <a:cs typeface="+mn-cs"/>
              </a:rPr>
              <a:t>THẾ</a:t>
            </a:r>
            <a:r>
              <a:rPr kumimoji="0" lang="en-US" sz="2700" b="0" i="0" u="none" strike="noStrike" kern="1200" cap="none" spc="0" normalizeH="0" noProof="0" dirty="0">
                <a:ln>
                  <a:noFill/>
                </a:ln>
                <a:solidFill>
                  <a:prstClr val="white"/>
                </a:solidFill>
                <a:effectLst/>
                <a:uLnTx/>
                <a:uFillTx/>
                <a:latin typeface="Calibri" panose="020F0502020204030204"/>
                <a:ea typeface="+mn-ea"/>
                <a:cs typeface="+mn-cs"/>
              </a:rPr>
              <a:t> KỈ XVII TCN</a:t>
            </a:r>
            <a:endParaRPr kumimoji="0" lang="vi-VN" sz="27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5" name="Rounded Rectangle 23"/>
          <p:cNvSpPr/>
          <p:nvPr/>
        </p:nvSpPr>
        <p:spPr>
          <a:xfrm>
            <a:off x="8084634" y="1316610"/>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10</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16" name="Rounded Rectangle 24"/>
          <p:cNvSpPr/>
          <p:nvPr/>
        </p:nvSpPr>
        <p:spPr>
          <a:xfrm>
            <a:off x="8084634" y="1338788"/>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9</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17" name="Rounded Rectangle 25"/>
          <p:cNvSpPr/>
          <p:nvPr/>
        </p:nvSpPr>
        <p:spPr>
          <a:xfrm>
            <a:off x="8084634" y="1353732"/>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8</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18" name="Rounded Rectangle 26"/>
          <p:cNvSpPr/>
          <p:nvPr/>
        </p:nvSpPr>
        <p:spPr>
          <a:xfrm>
            <a:off x="8084634" y="1339266"/>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7</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19" name="Rounded Rectangle 27"/>
          <p:cNvSpPr/>
          <p:nvPr/>
        </p:nvSpPr>
        <p:spPr>
          <a:xfrm>
            <a:off x="8084634" y="1316610"/>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6</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0" name="Rounded Rectangle 28"/>
          <p:cNvSpPr/>
          <p:nvPr/>
        </p:nvSpPr>
        <p:spPr>
          <a:xfrm>
            <a:off x="8084634" y="1346499"/>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5</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1" name="Rounded Rectangle 29"/>
          <p:cNvSpPr/>
          <p:nvPr/>
        </p:nvSpPr>
        <p:spPr>
          <a:xfrm>
            <a:off x="8084634" y="1331555"/>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4</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2" name="Rounded Rectangle 30"/>
          <p:cNvSpPr/>
          <p:nvPr/>
        </p:nvSpPr>
        <p:spPr>
          <a:xfrm>
            <a:off x="8084634" y="1316610"/>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3</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3" name="Rounded Rectangle 31"/>
          <p:cNvSpPr/>
          <p:nvPr/>
        </p:nvSpPr>
        <p:spPr>
          <a:xfrm>
            <a:off x="8084634" y="1286721"/>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2</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4" name="Rounded Rectangle 32"/>
          <p:cNvSpPr/>
          <p:nvPr/>
        </p:nvSpPr>
        <p:spPr>
          <a:xfrm>
            <a:off x="8084634" y="1301666"/>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1</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5" name="Rounded Rectangle 33"/>
          <p:cNvSpPr/>
          <p:nvPr/>
        </p:nvSpPr>
        <p:spPr>
          <a:xfrm>
            <a:off x="8084634" y="1301666"/>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vi-VN" altLang="en-US" sz="4800" b="0" i="0" u="none" strike="noStrike" kern="1200" cap="none" spc="0" normalizeH="0" baseline="0" noProof="0">
                <a:ln>
                  <a:noFill/>
                </a:ln>
                <a:solidFill>
                  <a:srgbClr val="002060"/>
                </a:solidFill>
                <a:effectLst/>
                <a:uLnTx/>
                <a:uFillTx/>
                <a:latin typeface="Calibri" panose="020F0502020204030204"/>
                <a:ea typeface="+mn-ea"/>
                <a:cs typeface="+mn-cs"/>
              </a:rPr>
              <a:t>00</a:t>
            </a: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a:t>
            </a:r>
            <a:r>
              <a:rPr kumimoji="0" lang="vi-VN" altLang="en-US" sz="4800" b="0" i="0" u="none" strike="noStrike" kern="1200" cap="none" spc="0" normalizeH="0" baseline="0" noProof="0">
                <a:ln>
                  <a:noFill/>
                </a:ln>
                <a:solidFill>
                  <a:srgbClr val="002060"/>
                </a:solidFill>
                <a:effectLst/>
                <a:uLnTx/>
                <a:uFillTx/>
                <a:latin typeface="Calibri" panose="020F0502020204030204"/>
                <a:ea typeface="+mn-ea"/>
                <a:cs typeface="+mn-cs"/>
              </a:rPr>
              <a:t>30</a:t>
            </a:r>
            <a:endParaRPr kumimoji="0" lang="vi-VN" alt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pic>
        <p:nvPicPr>
          <p:cNvPr id="26" name="Picture 2" descr="Káº¿t quáº£ hÃ¬nh áº£nh cho icon Äá»ng há»"/>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713534" y="1260206"/>
            <a:ext cx="1171311" cy="118586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hlinkClick r:id="rId4" action="ppaction://hlinksldjump"/>
          </p:cNvPr>
          <p:cNvPicPr>
            <a:picLocks noChangeAspect="1"/>
          </p:cNvPicPr>
          <p:nvPr/>
        </p:nvPicPr>
        <p:blipFill>
          <a:blip r:embed="rId5">
            <a:extLst>
              <a:ext uri="{BEBA8EAE-BF5A-486C-A8C5-ECC9F3942E4B}">
                <a14:imgProps xmlns:a14="http://schemas.microsoft.com/office/drawing/2010/main">
                  <a14:imgLayer r:embed="rId6">
                    <a14:imgEffect>
                      <a14:backgroundRemoval t="2346" b="100000" l="0" r="95690"/>
                    </a14:imgEffect>
                  </a14:imgLayer>
                </a14:imgProps>
              </a:ext>
            </a:extLst>
          </a:blip>
          <a:stretch>
            <a:fillRect/>
          </a:stretch>
        </p:blipFill>
        <p:spPr>
          <a:xfrm>
            <a:off x="14167119" y="1213332"/>
            <a:ext cx="1080468" cy="1058735"/>
          </a:xfrm>
          <a:prstGeom prst="rect">
            <a:avLst/>
          </a:prstGeom>
        </p:spPr>
      </p:pic>
      <p:pic>
        <p:nvPicPr>
          <p:cNvPr id="28" name="Picture 4" descr="Hoa Đào png tách nề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372647"/>
            <a:ext cx="7315200" cy="5986464"/>
          </a:xfrm>
          <a:prstGeom prst="rect">
            <a:avLst/>
          </a:prstGeom>
          <a:noFill/>
          <a:extLst>
            <a:ext uri="{909E8E84-426E-40DD-AFC4-6F175D3DCCD1}">
              <a14:hiddenFill xmlns:a14="http://schemas.microsoft.com/office/drawing/2010/main">
                <a:solidFill>
                  <a:srgbClr val="FFFFFF"/>
                </a:solidFill>
              </a14:hiddenFill>
            </a:ext>
          </a:extLst>
        </p:spPr>
      </p:pic>
      <p:sp>
        <p:nvSpPr>
          <p:cNvPr id="29" name="Frame 28"/>
          <p:cNvSpPr/>
          <p:nvPr/>
        </p:nvSpPr>
        <p:spPr>
          <a:xfrm>
            <a:off x="0" y="0"/>
            <a:ext cx="18288000" cy="10287000"/>
          </a:xfrm>
          <a:prstGeom prst="frame">
            <a:avLst>
              <a:gd name="adj1" fmla="val 1528"/>
            </a:avLst>
          </a:prstGeom>
          <a:blipFill>
            <a:blip r:embed="rId8"/>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after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1" nodeType="afterEffect">
                                  <p:stCondLst>
                                    <p:cond delay="0"/>
                                  </p:stCondLst>
                                  <p:childTnLst>
                                    <p:set>
                                      <p:cBhvr>
                                        <p:cTn id="9" dur="1" fill="hold">
                                          <p:stCondLst>
                                            <p:cond delay="0"/>
                                          </p:stCondLst>
                                        </p:cTn>
                                        <p:tgtEl>
                                          <p:spTgt spid="11"/>
                                        </p:tgtEl>
                                        <p:attrNameLst>
                                          <p:attrName>style.visibility</p:attrName>
                                        </p:attrNameLst>
                                      </p:cBhvr>
                                      <p:to>
                                        <p:strVal val="visible"/>
                                      </p:to>
                                    </p:set>
                                  </p:childTnLst>
                                  <p:subTnLst>
                                    <p:audio>
                                      <p:cMediaNode>
                                        <p:cTn display="0" masterRel="sameClick">
                                          <p:stCondLst>
                                            <p:cond evt="begin" delay="0">
                                              <p:tn val="8"/>
                                            </p:cond>
                                          </p:stCondLst>
                                          <p:endCondLst>
                                            <p:cond evt="onStopAudio" delay="0">
                                              <p:tgtEl>
                                                <p:sldTgt/>
                                              </p:tgtEl>
                                            </p:cond>
                                          </p:endCondLst>
                                        </p:cTn>
                                        <p:tgtEl>
                                          <p:sndTgt r:embed="rId9" name="bomb.wav"/>
                                        </p:tgtEl>
                                      </p:cMediaNode>
                                    </p:audio>
                                  </p:subTnLst>
                                </p:cTn>
                              </p:par>
                            </p:childTnLst>
                          </p:cTn>
                        </p:par>
                        <p:par>
                          <p:cTn id="10" fill="hold">
                            <p:stCondLst>
                              <p:cond delay="0"/>
                            </p:stCondLst>
                            <p:childTnLst>
                              <p:par>
                                <p:cTn id="11" presetID="1" presetClass="entr" presetSubtype="0" fill="hold" grpId="1" nodeType="afterEffect">
                                  <p:stCondLst>
                                    <p:cond delay="0"/>
                                  </p:stCondLst>
                                  <p:childTnLst>
                                    <p:set>
                                      <p:cBhvr>
                                        <p:cTn id="12" dur="1" fill="hold">
                                          <p:stCondLst>
                                            <p:cond delay="0"/>
                                          </p:stCondLst>
                                        </p:cTn>
                                        <p:tgtEl>
                                          <p:spTgt spid="12"/>
                                        </p:tgtEl>
                                        <p:attrNameLst>
                                          <p:attrName>style.visibility</p:attrName>
                                        </p:attrNameLst>
                                      </p:cBhvr>
                                      <p:to>
                                        <p:strVal val="visible"/>
                                      </p:to>
                                    </p:set>
                                  </p:childTnLst>
                                  <p:subTnLst>
                                    <p:audio>
                                      <p:cMediaNode>
                                        <p:cTn display="0" masterRel="sameClick">
                                          <p:stCondLst>
                                            <p:cond evt="begin" delay="0">
                                              <p:tn val="11"/>
                                            </p:cond>
                                          </p:stCondLst>
                                          <p:endCondLst>
                                            <p:cond evt="onStopAudio" delay="0">
                                              <p:tgtEl>
                                                <p:sldTgt/>
                                              </p:tgtEl>
                                            </p:cond>
                                          </p:endCondLst>
                                        </p:cTn>
                                        <p:tgtEl>
                                          <p:sndTgt r:embed="rId9" name="bomb.wav"/>
                                        </p:tgtEl>
                                      </p:cMediaNode>
                                    </p:audio>
                                  </p:subTnLst>
                                </p:cTn>
                              </p:par>
                            </p:childTnLst>
                          </p:cTn>
                        </p:par>
                        <p:par>
                          <p:cTn id="13" fill="hold">
                            <p:stCondLst>
                              <p:cond delay="0"/>
                            </p:stCondLst>
                            <p:childTnLst>
                              <p:par>
                                <p:cTn id="14" presetID="1" presetClass="entr" presetSubtype="0" fill="hold" grpId="1" nodeType="afterEffect">
                                  <p:stCondLst>
                                    <p:cond delay="0"/>
                                  </p:stCondLst>
                                  <p:childTnLst>
                                    <p:set>
                                      <p:cBhvr>
                                        <p:cTn id="15" dur="1" fill="hold">
                                          <p:stCondLst>
                                            <p:cond delay="0"/>
                                          </p:stCondLst>
                                        </p:cTn>
                                        <p:tgtEl>
                                          <p:spTgt spid="13"/>
                                        </p:tgtEl>
                                        <p:attrNameLst>
                                          <p:attrName>style.visibility</p:attrName>
                                        </p:attrNameLst>
                                      </p:cBhvr>
                                      <p:to>
                                        <p:strVal val="visible"/>
                                      </p:to>
                                    </p:set>
                                  </p:childTnLst>
                                  <p:subTnLst>
                                    <p:audio>
                                      <p:cMediaNode>
                                        <p:cTn display="0" masterRel="sameClick">
                                          <p:stCondLst>
                                            <p:cond evt="begin" delay="0">
                                              <p:tn val="14"/>
                                            </p:cond>
                                          </p:stCondLst>
                                          <p:endCondLst>
                                            <p:cond evt="onStopAudio" delay="0">
                                              <p:tgtEl>
                                                <p:sldTgt/>
                                              </p:tgtEl>
                                            </p:cond>
                                          </p:endCondLst>
                                        </p:cTn>
                                        <p:tgtEl>
                                          <p:sndTgt r:embed="rId9" name="bomb.wav"/>
                                        </p:tgtEl>
                                      </p:cMediaNode>
                                    </p:audio>
                                  </p:subTnLst>
                                </p:cTn>
                              </p:par>
                            </p:childTnLst>
                          </p:cTn>
                        </p:par>
                      </p:childTnLst>
                    </p:cTn>
                  </p:par>
                </p:childTnLst>
              </p:cTn>
              <p:prevCondLst>
                <p:cond evt="onPrev" delay="0">
                  <p:tgtEl>
                    <p:sldTgt/>
                  </p:tgtEl>
                </p:cond>
              </p:prevCondLst>
              <p:nextCondLst>
                <p:cond evt="onNext" delay="0">
                  <p:tgtEl>
                    <p:sldTgt/>
                  </p:tgtEl>
                </p:cond>
              </p:nextCondLst>
            </p:seq>
            <p:seq concurrent="1" nextAc="seek">
              <p:cTn id="16" restart="whenNotActive" fill="hold" evtFilter="cancelBubble" nodeType="interactiveSeq">
                <p:stCondLst>
                  <p:cond evt="onClick" delay="0">
                    <p:tgtEl>
                      <p:spTgt spid="10"/>
                    </p:tgtEl>
                  </p:cond>
                </p:stCondLst>
                <p:endSync evt="end" delay="0">
                  <p:rtn val="all"/>
                </p:endSync>
                <p:childTnLst>
                  <p:par>
                    <p:cTn id="17" fill="hold">
                      <p:stCondLst>
                        <p:cond delay="0"/>
                      </p:stCondLst>
                      <p:childTnLst>
                        <p:par>
                          <p:cTn id="18" fill="hold">
                            <p:stCondLst>
                              <p:cond delay="0"/>
                            </p:stCondLst>
                            <p:childTnLst>
                              <p:par>
                                <p:cTn id="19" presetID="30" presetClass="emph" presetSubtype="0" fill="hold" grpId="0" nodeType="clickEffect">
                                  <p:stCondLst>
                                    <p:cond delay="0"/>
                                  </p:stCondLst>
                                  <p:childTnLst>
                                    <p:animClr clrSpc="hsl" dir="cw">
                                      <p:cBhvr override="childStyle">
                                        <p:cTn id="20" dur="500" fill="hold"/>
                                        <p:tgtEl>
                                          <p:spTgt spid="10"/>
                                        </p:tgtEl>
                                        <p:attrNameLst>
                                          <p:attrName>style.color</p:attrName>
                                        </p:attrNameLst>
                                      </p:cBhvr>
                                      <p:by>
                                        <p:hsl h="0" s="12549" l="25098"/>
                                      </p:by>
                                    </p:animClr>
                                    <p:animClr clrSpc="hsl" dir="cw">
                                      <p:cBhvr>
                                        <p:cTn id="21" dur="500" fill="hold"/>
                                        <p:tgtEl>
                                          <p:spTgt spid="10"/>
                                        </p:tgtEl>
                                        <p:attrNameLst>
                                          <p:attrName>fillcolor</p:attrName>
                                        </p:attrNameLst>
                                      </p:cBhvr>
                                      <p:by>
                                        <p:hsl h="0" s="12549" l="25098"/>
                                      </p:by>
                                    </p:animClr>
                                    <p:animClr clrSpc="hsl" dir="cw">
                                      <p:cBhvr>
                                        <p:cTn id="22" dur="500" fill="hold"/>
                                        <p:tgtEl>
                                          <p:spTgt spid="10"/>
                                        </p:tgtEl>
                                        <p:attrNameLst>
                                          <p:attrName>stroke.color</p:attrName>
                                        </p:attrNameLst>
                                      </p:cBhvr>
                                      <p:by>
                                        <p:hsl h="0" s="12549" l="25098"/>
                                      </p:by>
                                    </p:animClr>
                                    <p:set>
                                      <p:cBhvr>
                                        <p:cTn id="23" dur="500" fill="hold"/>
                                        <p:tgtEl>
                                          <p:spTgt spid="10"/>
                                        </p:tgtEl>
                                        <p:attrNameLst>
                                          <p:attrName>fill.type</p:attrName>
                                        </p:attrNameLst>
                                      </p:cBhvr>
                                      <p:to>
                                        <p:strVal val="solid"/>
                                      </p:to>
                                    </p:set>
                                  </p:childTnLst>
                                  <p:subTnLst>
                                    <p:audio>
                                      <p:cMediaNode>
                                        <p:cTn display="0" masterRel="sameClick">
                                          <p:stCondLst>
                                            <p:cond evt="begin" delay="0">
                                              <p:tn val="19"/>
                                            </p:cond>
                                          </p:stCondLst>
                                          <p:endCondLst>
                                            <p:cond evt="onStopAudio" delay="0">
                                              <p:tgtEl>
                                                <p:sldTgt/>
                                              </p:tgtEl>
                                            </p:cond>
                                          </p:endCondLst>
                                        </p:cTn>
                                        <p:tgtEl>
                                          <p:sndTgt r:embed="rId10" name="applause.wav"/>
                                        </p:tgtEl>
                                      </p:cMediaNode>
                                    </p:audio>
                                    <p:animClr clrSpc="rgb" dir="cw">
                                      <p:cBhvr override="childStyle">
                                        <p:cTn dur="1" fill="hold" display="0" masterRel="nextClick" afterEffect="1"/>
                                        <p:tgtEl>
                                          <p:spTgt spid="10"/>
                                        </p:tgtEl>
                                        <p:attrNameLst>
                                          <p:attrName>ppt_c</p:attrName>
                                        </p:attrNameLst>
                                      </p:cBhvr>
                                      <p:to>
                                        <a:schemeClr val="accent2"/>
                                      </p:to>
                                    </p:animClr>
                                  </p:subTnLst>
                                </p:cTn>
                              </p:par>
                            </p:childTnLst>
                          </p:cTn>
                        </p:par>
                      </p:childTnLst>
                    </p:cTn>
                  </p:par>
                </p:childTnLst>
              </p:cTn>
              <p:nextCondLst>
                <p:cond evt="onClick" delay="0">
                  <p:tgtEl>
                    <p:spTgt spid="10"/>
                  </p:tgtEl>
                </p:cond>
              </p:nextCondLst>
            </p:seq>
            <p:seq concurrent="1" nextAc="seek">
              <p:cTn id="24" restart="whenNotActive" fill="hold" evtFilter="cancelBubble" nodeType="interactiveSeq">
                <p:stCondLst>
                  <p:cond evt="onClick" delay="0">
                    <p:tgtEl>
                      <p:spTgt spid="11"/>
                    </p:tgtEl>
                  </p:cond>
                </p:stCondLst>
                <p:endSync evt="end" delay="0">
                  <p:rtn val="all"/>
                </p:endSync>
                <p:childTnLst>
                  <p:par>
                    <p:cTn id="25" fill="hold">
                      <p:stCondLst>
                        <p:cond delay="0"/>
                      </p:stCondLst>
                      <p:childTnLst>
                        <p:par>
                          <p:cTn id="26" fill="hold">
                            <p:stCondLst>
                              <p:cond delay="0"/>
                            </p:stCondLst>
                            <p:childTnLst>
                              <p:par>
                                <p:cTn id="27" presetID="26" presetClass="emph" presetSubtype="0" fill="hold" grpId="0" nodeType="clickEffect">
                                  <p:stCondLst>
                                    <p:cond delay="0"/>
                                  </p:stCondLst>
                                  <p:childTnLst>
                                    <p:animEffect transition="out" filter="fade">
                                      <p:cBhvr>
                                        <p:cTn id="28" dur="500" tmFilter="0, 0; .2, .5; .8, .5; 1, 0"/>
                                        <p:tgtEl>
                                          <p:spTgt spid="11"/>
                                        </p:tgtEl>
                                      </p:cBhvr>
                                    </p:animEffect>
                                    <p:animScale>
                                      <p:cBhvr>
                                        <p:cTn id="29" dur="250" autoRev="1" fill="hold"/>
                                        <p:tgtEl>
                                          <p:spTgt spid="11"/>
                                        </p:tgtEl>
                                      </p:cBhvr>
                                      <p:by x="105000" y="105000"/>
                                    </p:animScale>
                                  </p:childTnLst>
                                  <p:subTnLst>
                                    <p:audio>
                                      <p:cMediaNode>
                                        <p:cTn display="0" masterRel="sameClick">
                                          <p:stCondLst>
                                            <p:cond evt="begin" delay="0">
                                              <p:tn val="27"/>
                                            </p:cond>
                                          </p:stCondLst>
                                          <p:endCondLst>
                                            <p:cond evt="onStopAudio" delay="0">
                                              <p:tgtEl>
                                                <p:sldTgt/>
                                              </p:tgtEl>
                                            </p:cond>
                                          </p:endCondLst>
                                        </p:cTn>
                                        <p:tgtEl>
                                          <p:sndTgt r:embed="rId9" name="bomb.wav"/>
                                        </p:tgtEl>
                                      </p:cMediaNode>
                                    </p:audio>
                                  </p:subTnLst>
                                </p:cTn>
                              </p:par>
                            </p:childTnLst>
                          </p:cTn>
                        </p:par>
                      </p:childTnLst>
                    </p:cTn>
                  </p:par>
                </p:childTnLst>
              </p:cTn>
              <p:nextCondLst>
                <p:cond evt="onClick" delay="0">
                  <p:tgtEl>
                    <p:spTgt spid="11"/>
                  </p:tgtEl>
                </p:cond>
              </p:nextCondLst>
            </p:seq>
            <p:seq concurrent="1" nextAc="seek">
              <p:cTn id="30" restart="whenNotActive" fill="hold" evtFilter="cancelBubble" nodeType="interactiveSeq">
                <p:stCondLst>
                  <p:cond evt="onClick" delay="0">
                    <p:tgtEl>
                      <p:spTgt spid="12"/>
                    </p:tgtEl>
                  </p:cond>
                </p:stCondLst>
                <p:endSync evt="end" delay="0">
                  <p:rtn val="all"/>
                </p:endSync>
                <p:childTnLst>
                  <p:par>
                    <p:cTn id="31" fill="hold">
                      <p:stCondLst>
                        <p:cond delay="0"/>
                      </p:stCondLst>
                      <p:childTnLst>
                        <p:par>
                          <p:cTn id="32" fill="hold">
                            <p:stCondLst>
                              <p:cond delay="0"/>
                            </p:stCondLst>
                            <p:childTnLst>
                              <p:par>
                                <p:cTn id="33" presetID="26" presetClass="emph" presetSubtype="0" fill="hold" grpId="0" nodeType="clickEffect">
                                  <p:stCondLst>
                                    <p:cond delay="0"/>
                                  </p:stCondLst>
                                  <p:childTnLst>
                                    <p:animEffect transition="out" filter="fade">
                                      <p:cBhvr>
                                        <p:cTn id="34" dur="500" tmFilter="0, 0; .2, .5; .8, .5; 1, 0"/>
                                        <p:tgtEl>
                                          <p:spTgt spid="12"/>
                                        </p:tgtEl>
                                      </p:cBhvr>
                                    </p:animEffect>
                                    <p:animScale>
                                      <p:cBhvr>
                                        <p:cTn id="35" dur="250" autoRev="1" fill="hold"/>
                                        <p:tgtEl>
                                          <p:spTgt spid="12"/>
                                        </p:tgtEl>
                                      </p:cBhvr>
                                      <p:by x="105000" y="105000"/>
                                    </p:animScale>
                                  </p:childTnLst>
                                  <p:subTnLst>
                                    <p:audio>
                                      <p:cMediaNode>
                                        <p:cTn display="0" masterRel="sameClick">
                                          <p:stCondLst>
                                            <p:cond evt="begin" delay="0">
                                              <p:tn val="33"/>
                                            </p:cond>
                                          </p:stCondLst>
                                          <p:endCondLst>
                                            <p:cond evt="onStopAudio" delay="0">
                                              <p:tgtEl>
                                                <p:sldTgt/>
                                              </p:tgtEl>
                                            </p:cond>
                                          </p:endCondLst>
                                        </p:cTn>
                                        <p:tgtEl>
                                          <p:sndTgt r:embed="rId9" name="bomb.wav"/>
                                        </p:tgtEl>
                                      </p:cMediaNode>
                                    </p:audio>
                                  </p:subTnLst>
                                </p:cTn>
                              </p:par>
                            </p:childTnLst>
                          </p:cTn>
                        </p:par>
                      </p:childTnLst>
                    </p:cTn>
                  </p:par>
                </p:childTnLst>
              </p:cTn>
              <p:nextCondLst>
                <p:cond evt="onClick" delay="0">
                  <p:tgtEl>
                    <p:spTgt spid="12"/>
                  </p:tgtEl>
                </p:cond>
              </p:nextCondLst>
            </p:seq>
            <p:seq concurrent="1" nextAc="seek">
              <p:cTn id="36" restart="whenNotActive" fill="hold" evtFilter="cancelBubble" nodeType="interactiveSeq">
                <p:stCondLst>
                  <p:cond evt="onClick" delay="0">
                    <p:tgtEl>
                      <p:spTgt spid="13"/>
                    </p:tgtEl>
                  </p:cond>
                </p:stCondLst>
                <p:endSync evt="end" delay="0">
                  <p:rtn val="all"/>
                </p:endSync>
                <p:childTnLst>
                  <p:par>
                    <p:cTn id="37" fill="hold">
                      <p:stCondLst>
                        <p:cond delay="0"/>
                      </p:stCondLst>
                      <p:childTnLst>
                        <p:par>
                          <p:cTn id="38" fill="hold">
                            <p:stCondLst>
                              <p:cond delay="0"/>
                            </p:stCondLst>
                            <p:childTnLst>
                              <p:par>
                                <p:cTn id="39" presetID="26" presetClass="emph" presetSubtype="0" fill="hold" grpId="0" nodeType="clickEffect">
                                  <p:stCondLst>
                                    <p:cond delay="0"/>
                                  </p:stCondLst>
                                  <p:childTnLst>
                                    <p:animEffect transition="out" filter="fade">
                                      <p:cBhvr>
                                        <p:cTn id="40" dur="500" tmFilter="0, 0; .2, .5; .8, .5; 1, 0"/>
                                        <p:tgtEl>
                                          <p:spTgt spid="13"/>
                                        </p:tgtEl>
                                      </p:cBhvr>
                                    </p:animEffect>
                                    <p:animScale>
                                      <p:cBhvr>
                                        <p:cTn id="41" dur="250" autoRev="1" fill="hold"/>
                                        <p:tgtEl>
                                          <p:spTgt spid="13"/>
                                        </p:tgtEl>
                                      </p:cBhvr>
                                      <p:by x="105000" y="105000"/>
                                    </p:animScale>
                                  </p:childTnLst>
                                  <p:subTnLst>
                                    <p:audio>
                                      <p:cMediaNode>
                                        <p:cTn display="0" masterRel="sameClick">
                                          <p:stCondLst>
                                            <p:cond evt="begin" delay="0">
                                              <p:tn val="39"/>
                                            </p:cond>
                                          </p:stCondLst>
                                          <p:endCondLst>
                                            <p:cond evt="onStopAudio" delay="0">
                                              <p:tgtEl>
                                                <p:sldTgt/>
                                              </p:tgtEl>
                                            </p:cond>
                                          </p:endCondLst>
                                        </p:cTn>
                                        <p:tgtEl>
                                          <p:sndTgt r:embed="rId9" name="bomb.wav"/>
                                        </p:tgtEl>
                                      </p:cMediaNode>
                                    </p:audio>
                                  </p:subTnLst>
                                </p:cTn>
                              </p:par>
                            </p:childTnLst>
                          </p:cTn>
                        </p:par>
                      </p:childTnLst>
                    </p:cTn>
                  </p:par>
                </p:childTnLst>
              </p:cTn>
              <p:nextCondLst>
                <p:cond evt="onClick" delay="0">
                  <p:tgtEl>
                    <p:spTgt spid="13"/>
                  </p:tgtEl>
                </p:cond>
              </p:nextCondLst>
            </p:seq>
            <p:seq concurrent="1" nextAc="seek">
              <p:cTn id="42" restart="whenNotActive" fill="hold" evtFilter="cancelBubble" nodeType="interactiveSeq">
                <p:stCondLst>
                  <p:cond evt="onClick" delay="0">
                    <p:tgtEl>
                      <p:spTgt spid="26"/>
                    </p:tgtEl>
                  </p:cond>
                </p:stCondLst>
                <p:endSync evt="end" delay="0">
                  <p:rtn val="all"/>
                </p:endSync>
                <p:childTnLst>
                  <p:par>
                    <p:cTn id="43" fill="hold">
                      <p:stCondLst>
                        <p:cond delay="0"/>
                      </p:stCondLst>
                      <p:childTnLst>
                        <p:par>
                          <p:cTn id="44" fill="hold">
                            <p:stCondLst>
                              <p:cond delay="0"/>
                            </p:stCondLst>
                            <p:childTnLst>
                              <p:par>
                                <p:cTn id="45" presetID="11" presetClass="entr" presetSubtype="0" fill="hold" grpId="0" nodeType="afterEffect">
                                  <p:stCondLst>
                                    <p:cond delay="0"/>
                                  </p:stCondLst>
                                  <p:childTnLst>
                                    <p:set>
                                      <p:cBhvr>
                                        <p:cTn id="46" dur="1000">
                                          <p:stCondLst>
                                            <p:cond delay="0"/>
                                          </p:stCondLst>
                                        </p:cTn>
                                        <p:tgtEl>
                                          <p:spTgt spid="15"/>
                                        </p:tgtEl>
                                        <p:attrNameLst>
                                          <p:attrName>style.visibility</p:attrName>
                                        </p:attrNameLst>
                                      </p:cBhvr>
                                      <p:to>
                                        <p:strVal val="visible"/>
                                      </p:to>
                                    </p:set>
                                  </p:childTnLst>
                                </p:cTn>
                              </p:par>
                            </p:childTnLst>
                          </p:cTn>
                        </p:par>
                        <p:par>
                          <p:cTn id="47" fill="hold">
                            <p:stCondLst>
                              <p:cond delay="1000"/>
                            </p:stCondLst>
                            <p:childTnLst>
                              <p:par>
                                <p:cTn id="48" presetID="11" presetClass="entr" presetSubtype="0" fill="hold" grpId="0" nodeType="afterEffect">
                                  <p:stCondLst>
                                    <p:cond delay="0"/>
                                  </p:stCondLst>
                                  <p:childTnLst>
                                    <p:set>
                                      <p:cBhvr>
                                        <p:cTn id="49" dur="1000">
                                          <p:stCondLst>
                                            <p:cond delay="0"/>
                                          </p:stCondLst>
                                        </p:cTn>
                                        <p:tgtEl>
                                          <p:spTgt spid="16"/>
                                        </p:tgtEl>
                                        <p:attrNameLst>
                                          <p:attrName>style.visibility</p:attrName>
                                        </p:attrNameLst>
                                      </p:cBhvr>
                                      <p:to>
                                        <p:strVal val="visible"/>
                                      </p:to>
                                    </p:set>
                                  </p:childTnLst>
                                </p:cTn>
                              </p:par>
                            </p:childTnLst>
                          </p:cTn>
                        </p:par>
                        <p:par>
                          <p:cTn id="50" fill="hold">
                            <p:stCondLst>
                              <p:cond delay="2000"/>
                            </p:stCondLst>
                            <p:childTnLst>
                              <p:par>
                                <p:cTn id="51" presetID="11" presetClass="entr" presetSubtype="0" fill="hold" grpId="0" nodeType="afterEffect">
                                  <p:stCondLst>
                                    <p:cond delay="0"/>
                                  </p:stCondLst>
                                  <p:childTnLst>
                                    <p:set>
                                      <p:cBhvr>
                                        <p:cTn id="52" dur="1000">
                                          <p:stCondLst>
                                            <p:cond delay="0"/>
                                          </p:stCondLst>
                                        </p:cTn>
                                        <p:tgtEl>
                                          <p:spTgt spid="17"/>
                                        </p:tgtEl>
                                        <p:attrNameLst>
                                          <p:attrName>style.visibility</p:attrName>
                                        </p:attrNameLst>
                                      </p:cBhvr>
                                      <p:to>
                                        <p:strVal val="visible"/>
                                      </p:to>
                                    </p:set>
                                  </p:childTnLst>
                                </p:cTn>
                              </p:par>
                            </p:childTnLst>
                          </p:cTn>
                        </p:par>
                        <p:par>
                          <p:cTn id="53" fill="hold">
                            <p:stCondLst>
                              <p:cond delay="3000"/>
                            </p:stCondLst>
                            <p:childTnLst>
                              <p:par>
                                <p:cTn id="54" presetID="11" presetClass="entr" presetSubtype="0" fill="hold" grpId="0" nodeType="afterEffect">
                                  <p:stCondLst>
                                    <p:cond delay="0"/>
                                  </p:stCondLst>
                                  <p:childTnLst>
                                    <p:set>
                                      <p:cBhvr>
                                        <p:cTn id="55" dur="1000">
                                          <p:stCondLst>
                                            <p:cond delay="0"/>
                                          </p:stCondLst>
                                        </p:cTn>
                                        <p:tgtEl>
                                          <p:spTgt spid="18"/>
                                        </p:tgtEl>
                                        <p:attrNameLst>
                                          <p:attrName>style.visibility</p:attrName>
                                        </p:attrNameLst>
                                      </p:cBhvr>
                                      <p:to>
                                        <p:strVal val="visible"/>
                                      </p:to>
                                    </p:set>
                                  </p:childTnLst>
                                </p:cTn>
                              </p:par>
                            </p:childTnLst>
                          </p:cTn>
                        </p:par>
                        <p:par>
                          <p:cTn id="56" fill="hold">
                            <p:stCondLst>
                              <p:cond delay="4000"/>
                            </p:stCondLst>
                            <p:childTnLst>
                              <p:par>
                                <p:cTn id="57" presetID="11" presetClass="entr" presetSubtype="0" fill="hold" grpId="0" nodeType="afterEffect">
                                  <p:stCondLst>
                                    <p:cond delay="0"/>
                                  </p:stCondLst>
                                  <p:childTnLst>
                                    <p:set>
                                      <p:cBhvr>
                                        <p:cTn id="58" dur="1000">
                                          <p:stCondLst>
                                            <p:cond delay="0"/>
                                          </p:stCondLst>
                                        </p:cTn>
                                        <p:tgtEl>
                                          <p:spTgt spid="19"/>
                                        </p:tgtEl>
                                        <p:attrNameLst>
                                          <p:attrName>style.visibility</p:attrName>
                                        </p:attrNameLst>
                                      </p:cBhvr>
                                      <p:to>
                                        <p:strVal val="visible"/>
                                      </p:to>
                                    </p:set>
                                  </p:childTnLst>
                                </p:cTn>
                              </p:par>
                            </p:childTnLst>
                          </p:cTn>
                        </p:par>
                        <p:par>
                          <p:cTn id="59" fill="hold">
                            <p:stCondLst>
                              <p:cond delay="5000"/>
                            </p:stCondLst>
                            <p:childTnLst>
                              <p:par>
                                <p:cTn id="60" presetID="11" presetClass="entr" presetSubtype="0" fill="hold" grpId="0" nodeType="afterEffect">
                                  <p:stCondLst>
                                    <p:cond delay="0"/>
                                  </p:stCondLst>
                                  <p:childTnLst>
                                    <p:set>
                                      <p:cBhvr>
                                        <p:cTn id="61" dur="1000">
                                          <p:stCondLst>
                                            <p:cond delay="0"/>
                                          </p:stCondLst>
                                        </p:cTn>
                                        <p:tgtEl>
                                          <p:spTgt spid="20"/>
                                        </p:tgtEl>
                                        <p:attrNameLst>
                                          <p:attrName>style.visibility</p:attrName>
                                        </p:attrNameLst>
                                      </p:cBhvr>
                                      <p:to>
                                        <p:strVal val="visible"/>
                                      </p:to>
                                    </p:set>
                                  </p:childTnLst>
                                </p:cTn>
                              </p:par>
                            </p:childTnLst>
                          </p:cTn>
                        </p:par>
                        <p:par>
                          <p:cTn id="62" fill="hold">
                            <p:stCondLst>
                              <p:cond delay="6000"/>
                            </p:stCondLst>
                            <p:childTnLst>
                              <p:par>
                                <p:cTn id="63" presetID="11" presetClass="entr" presetSubtype="0" fill="hold" grpId="0" nodeType="afterEffect">
                                  <p:stCondLst>
                                    <p:cond delay="0"/>
                                  </p:stCondLst>
                                  <p:childTnLst>
                                    <p:set>
                                      <p:cBhvr>
                                        <p:cTn id="64" dur="1000">
                                          <p:stCondLst>
                                            <p:cond delay="0"/>
                                          </p:stCondLst>
                                        </p:cTn>
                                        <p:tgtEl>
                                          <p:spTgt spid="21"/>
                                        </p:tgtEl>
                                        <p:attrNameLst>
                                          <p:attrName>style.visibility</p:attrName>
                                        </p:attrNameLst>
                                      </p:cBhvr>
                                      <p:to>
                                        <p:strVal val="visible"/>
                                      </p:to>
                                    </p:set>
                                  </p:childTnLst>
                                </p:cTn>
                              </p:par>
                            </p:childTnLst>
                          </p:cTn>
                        </p:par>
                        <p:par>
                          <p:cTn id="65" fill="hold">
                            <p:stCondLst>
                              <p:cond delay="7000"/>
                            </p:stCondLst>
                            <p:childTnLst>
                              <p:par>
                                <p:cTn id="66" presetID="11" presetClass="entr" presetSubtype="0" fill="hold" grpId="0" nodeType="afterEffect">
                                  <p:stCondLst>
                                    <p:cond delay="0"/>
                                  </p:stCondLst>
                                  <p:childTnLst>
                                    <p:set>
                                      <p:cBhvr>
                                        <p:cTn id="67" dur="1000">
                                          <p:stCondLst>
                                            <p:cond delay="0"/>
                                          </p:stCondLst>
                                        </p:cTn>
                                        <p:tgtEl>
                                          <p:spTgt spid="22"/>
                                        </p:tgtEl>
                                        <p:attrNameLst>
                                          <p:attrName>style.visibility</p:attrName>
                                        </p:attrNameLst>
                                      </p:cBhvr>
                                      <p:to>
                                        <p:strVal val="visible"/>
                                      </p:to>
                                    </p:set>
                                  </p:childTnLst>
                                </p:cTn>
                              </p:par>
                            </p:childTnLst>
                          </p:cTn>
                        </p:par>
                        <p:par>
                          <p:cTn id="68" fill="hold">
                            <p:stCondLst>
                              <p:cond delay="8000"/>
                            </p:stCondLst>
                            <p:childTnLst>
                              <p:par>
                                <p:cTn id="69" presetID="11" presetClass="entr" presetSubtype="0" fill="hold" grpId="0" nodeType="afterEffect">
                                  <p:stCondLst>
                                    <p:cond delay="0"/>
                                  </p:stCondLst>
                                  <p:childTnLst>
                                    <p:set>
                                      <p:cBhvr>
                                        <p:cTn id="70" dur="1000">
                                          <p:stCondLst>
                                            <p:cond delay="0"/>
                                          </p:stCondLst>
                                        </p:cTn>
                                        <p:tgtEl>
                                          <p:spTgt spid="23"/>
                                        </p:tgtEl>
                                        <p:attrNameLst>
                                          <p:attrName>style.visibility</p:attrName>
                                        </p:attrNameLst>
                                      </p:cBhvr>
                                      <p:to>
                                        <p:strVal val="visible"/>
                                      </p:to>
                                    </p:set>
                                  </p:childTnLst>
                                </p:cTn>
                              </p:par>
                            </p:childTnLst>
                          </p:cTn>
                        </p:par>
                        <p:par>
                          <p:cTn id="71" fill="hold">
                            <p:stCondLst>
                              <p:cond delay="9000"/>
                            </p:stCondLst>
                            <p:childTnLst>
                              <p:par>
                                <p:cTn id="72" presetID="11" presetClass="entr" presetSubtype="0" fill="hold" grpId="0" nodeType="afterEffect">
                                  <p:stCondLst>
                                    <p:cond delay="0"/>
                                  </p:stCondLst>
                                  <p:childTnLst>
                                    <p:set>
                                      <p:cBhvr>
                                        <p:cTn id="73" dur="1000">
                                          <p:stCondLst>
                                            <p:cond delay="0"/>
                                          </p:stCondLst>
                                        </p:cTn>
                                        <p:tgtEl>
                                          <p:spTgt spid="24"/>
                                        </p:tgtEl>
                                        <p:attrNameLst>
                                          <p:attrName>style.visibility</p:attrName>
                                        </p:attrNameLst>
                                      </p:cBhvr>
                                      <p:to>
                                        <p:strVal val="visible"/>
                                      </p:to>
                                    </p:set>
                                  </p:childTnLst>
                                </p:cTn>
                              </p:par>
                            </p:childTnLst>
                          </p:cTn>
                        </p:par>
                        <p:par>
                          <p:cTn id="74" fill="hold">
                            <p:stCondLst>
                              <p:cond delay="10000"/>
                            </p:stCondLst>
                            <p:childTnLst>
                              <p:par>
                                <p:cTn id="75" presetID="11" presetClass="entr" presetSubtype="0" fill="hold" grpId="0" nodeType="afterEffect">
                                  <p:stCondLst>
                                    <p:cond delay="0"/>
                                  </p:stCondLst>
                                  <p:childTnLst>
                                    <p:set>
                                      <p:cBhvr>
                                        <p:cTn id="76" dur="1000">
                                          <p:stCondLst>
                                            <p:cond delay="0"/>
                                          </p:stCondLst>
                                        </p:cTn>
                                        <p:tgtEl>
                                          <p:spTgt spid="25"/>
                                        </p:tgtEl>
                                        <p:attrNameLst>
                                          <p:attrName>style.visibility</p:attrName>
                                        </p:attrNameLst>
                                      </p:cBhvr>
                                      <p:to>
                                        <p:strVal val="visible"/>
                                      </p:to>
                                    </p:set>
                                  </p:childTnLst>
                                </p:cTn>
                              </p:par>
                            </p:childTnLst>
                          </p:cTn>
                        </p:par>
                      </p:childTnLst>
                    </p:cTn>
                  </p:par>
                </p:childTnLst>
              </p:cTn>
              <p:nextCondLst>
                <p:cond evt="onClick" delay="0">
                  <p:tgtEl>
                    <p:spTgt spid="26"/>
                  </p:tgtEl>
                </p:cond>
              </p:nextCondLst>
            </p:seq>
          </p:childTnLst>
        </p:cTn>
      </p:par>
    </p:tnLst>
    <p:bldLst>
      <p:bldP spid="10" grpId="0" bldLvl="0" animBg="1"/>
      <p:bldP spid="10" grpId="1" bldLvl="0" animBg="1"/>
      <p:bldP spid="11" grpId="0" bldLvl="0" animBg="1"/>
      <p:bldP spid="11" grpId="1" bldLvl="0" animBg="1"/>
      <p:bldP spid="12" grpId="0" bldLvl="0" animBg="1"/>
      <p:bldP spid="12" grpId="1" bldLvl="0" animBg="1"/>
      <p:bldP spid="13" grpId="0" bldLvl="0" animBg="1"/>
      <p:bldP spid="13" grpId="1" bldLvl="0" animBg="1"/>
      <p:bldP spid="15" grpId="0" bldLvl="0" animBg="1"/>
      <p:bldP spid="16" grpId="0" bldLvl="0" animBg="1"/>
      <p:bldP spid="17" grpId="0" bldLvl="0" animBg="1"/>
      <p:bldP spid="18" grpId="0" bldLvl="0" animBg="1"/>
      <p:bldP spid="19" grpId="0" bldLvl="0" animBg="1"/>
      <p:bldP spid="20" grpId="0" bldLvl="0" animBg="1"/>
      <p:bldP spid="21" grpId="0" bldLvl="0" animBg="1"/>
      <p:bldP spid="22" grpId="0" bldLvl="0" animBg="1"/>
      <p:bldP spid="23" grpId="0" bldLvl="0" animBg="1"/>
      <p:bldP spid="24" grpId="0" bldLvl="0" animBg="1"/>
      <p:bldP spid="25" grpId="0" bldLvl="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1">
            <a:extLst>
              <a:ext uri="{28A0092B-C50C-407E-A947-70E740481C1C}">
                <a14:useLocalDpi xmlns:a14="http://schemas.microsoft.com/office/drawing/2010/main" val="0"/>
              </a:ext>
            </a:extLst>
          </a:blip>
          <a:srcRect b="24227"/>
          <a:stretch>
            <a:fillRect/>
          </a:stretch>
        </p:blipFill>
        <p:spPr>
          <a:xfrm>
            <a:off x="2141339" y="2492298"/>
            <a:ext cx="13716000" cy="7794702"/>
          </a:xfrm>
          <a:prstGeom prst="rect">
            <a:avLst/>
          </a:prstGeom>
        </p:spPr>
      </p:pic>
      <p:sp>
        <p:nvSpPr>
          <p:cNvPr id="3" name="TextBox 2"/>
          <p:cNvSpPr txBox="1"/>
          <p:nvPr/>
        </p:nvSpPr>
        <p:spPr>
          <a:xfrm>
            <a:off x="2910772" y="3614861"/>
            <a:ext cx="12177132" cy="6451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C2.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Nhà</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nước</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Văn</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Lang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được</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hình</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thành</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ở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khu</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vực</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nào</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a:t>
            </a:r>
            <a:endParaRPr kumimoji="0" lang="vi-VN"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0" name="A"/>
          <p:cNvSpPr/>
          <p:nvPr/>
        </p:nvSpPr>
        <p:spPr>
          <a:xfrm>
            <a:off x="2712128" y="7869575"/>
            <a:ext cx="6204546" cy="1191990"/>
          </a:xfrm>
          <a:custGeom>
            <a:avLst/>
            <a:gdLst>
              <a:gd name="connsiteX0" fmla="*/ 0 w 4056063"/>
              <a:gd name="connsiteY0" fmla="*/ 0 h 794660"/>
              <a:gd name="connsiteX1" fmla="*/ 3642405 w 4056063"/>
              <a:gd name="connsiteY1" fmla="*/ 0 h 794660"/>
              <a:gd name="connsiteX2" fmla="*/ 3642405 w 4056063"/>
              <a:gd name="connsiteY2" fmla="*/ 1 h 794660"/>
              <a:gd name="connsiteX3" fmla="*/ 4056063 w 4056063"/>
              <a:gd name="connsiteY3" fmla="*/ 397331 h 794660"/>
              <a:gd name="connsiteX4" fmla="*/ 3642405 w 4056063"/>
              <a:gd name="connsiteY4" fmla="*/ 794660 h 794660"/>
              <a:gd name="connsiteX5" fmla="*/ 3642405 w 4056063"/>
              <a:gd name="connsiteY5" fmla="*/ 794658 h 794660"/>
              <a:gd name="connsiteX6" fmla="*/ 0 w 4056063"/>
              <a:gd name="connsiteY6" fmla="*/ 794658 h 7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6063" h="794660">
                <a:moveTo>
                  <a:pt x="0" y="0"/>
                </a:moveTo>
                <a:lnTo>
                  <a:pt x="3642405" y="0"/>
                </a:lnTo>
                <a:lnTo>
                  <a:pt x="3642405" y="1"/>
                </a:lnTo>
                <a:lnTo>
                  <a:pt x="4056063" y="397331"/>
                </a:lnTo>
                <a:lnTo>
                  <a:pt x="3642405" y="794660"/>
                </a:lnTo>
                <a:lnTo>
                  <a:pt x="3642405" y="794658"/>
                </a:lnTo>
                <a:lnTo>
                  <a:pt x="0" y="794658"/>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700" b="0" i="0" u="none" strike="noStrike" kern="1200" cap="none" spc="0" normalizeH="0" baseline="0" noProof="0" dirty="0" err="1">
                <a:ln>
                  <a:noFill/>
                </a:ln>
                <a:solidFill>
                  <a:prstClr val="white"/>
                </a:solidFill>
                <a:effectLst/>
                <a:uLnTx/>
                <a:uFillTx/>
                <a:latin typeface="Calibri" panose="020F0502020204030204"/>
                <a:ea typeface="+mn-ea"/>
                <a:cs typeface="+mn-cs"/>
              </a:rPr>
              <a:t>Lưu</a:t>
            </a:r>
            <a:r>
              <a:rPr kumimoji="0" lang="en-US" sz="2700" b="0" i="0" u="none" strike="noStrike" kern="1200" cap="none" spc="0" normalizeH="0" noProof="0" dirty="0">
                <a:ln>
                  <a:noFill/>
                </a:ln>
                <a:solidFill>
                  <a:prstClr val="white"/>
                </a:solidFill>
                <a:effectLst/>
                <a:uLnTx/>
                <a:uFillTx/>
                <a:latin typeface="Calibri" panose="020F0502020204030204"/>
                <a:ea typeface="+mn-ea"/>
                <a:cs typeface="+mn-cs"/>
              </a:rPr>
              <a:t> </a:t>
            </a:r>
            <a:r>
              <a:rPr kumimoji="0" lang="en-US" sz="2700" b="0" i="0" u="none" strike="noStrike" kern="1200" cap="none" spc="0" normalizeH="0" noProof="0" dirty="0" err="1">
                <a:ln>
                  <a:noFill/>
                </a:ln>
                <a:solidFill>
                  <a:prstClr val="white"/>
                </a:solidFill>
                <a:effectLst/>
                <a:uLnTx/>
                <a:uFillTx/>
                <a:latin typeface="Calibri" panose="020F0502020204030204"/>
                <a:ea typeface="+mn-ea"/>
                <a:cs typeface="+mn-cs"/>
              </a:rPr>
              <a:t>vực</a:t>
            </a:r>
            <a:r>
              <a:rPr kumimoji="0" lang="en-US" sz="2700" b="0" i="0" u="none" strike="noStrike" kern="1200" cap="none" spc="0" normalizeH="0" noProof="0" dirty="0">
                <a:ln>
                  <a:noFill/>
                </a:ln>
                <a:solidFill>
                  <a:prstClr val="white"/>
                </a:solidFill>
                <a:effectLst/>
                <a:uLnTx/>
                <a:uFillTx/>
                <a:latin typeface="Calibri" panose="020F0502020204030204"/>
                <a:ea typeface="+mn-ea"/>
                <a:cs typeface="+mn-cs"/>
              </a:rPr>
              <a:t> </a:t>
            </a:r>
            <a:r>
              <a:rPr kumimoji="0" lang="en-US" sz="2700" b="0" i="0" u="none" strike="noStrike" kern="1200" cap="none" spc="0" normalizeH="0" noProof="0" dirty="0" err="1">
                <a:ln>
                  <a:noFill/>
                </a:ln>
                <a:solidFill>
                  <a:prstClr val="white"/>
                </a:solidFill>
                <a:effectLst/>
                <a:uLnTx/>
                <a:uFillTx/>
                <a:latin typeface="Calibri" panose="020F0502020204030204"/>
                <a:ea typeface="+mn-ea"/>
                <a:cs typeface="+mn-cs"/>
              </a:rPr>
              <a:t>sông</a:t>
            </a:r>
            <a:endParaRPr kumimoji="0" lang="vi-VN" sz="27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1" name="B"/>
          <p:cNvSpPr/>
          <p:nvPr/>
        </p:nvSpPr>
        <p:spPr>
          <a:xfrm>
            <a:off x="2712128" y="6122418"/>
            <a:ext cx="6204546" cy="1191990"/>
          </a:xfrm>
          <a:custGeom>
            <a:avLst/>
            <a:gdLst>
              <a:gd name="connsiteX0" fmla="*/ 0 w 4056063"/>
              <a:gd name="connsiteY0" fmla="*/ 0 h 794660"/>
              <a:gd name="connsiteX1" fmla="*/ 3642405 w 4056063"/>
              <a:gd name="connsiteY1" fmla="*/ 0 h 794660"/>
              <a:gd name="connsiteX2" fmla="*/ 3642405 w 4056063"/>
              <a:gd name="connsiteY2" fmla="*/ 1 h 794660"/>
              <a:gd name="connsiteX3" fmla="*/ 4056063 w 4056063"/>
              <a:gd name="connsiteY3" fmla="*/ 397331 h 794660"/>
              <a:gd name="connsiteX4" fmla="*/ 3642405 w 4056063"/>
              <a:gd name="connsiteY4" fmla="*/ 794660 h 794660"/>
              <a:gd name="connsiteX5" fmla="*/ 3642405 w 4056063"/>
              <a:gd name="connsiteY5" fmla="*/ 794658 h 794660"/>
              <a:gd name="connsiteX6" fmla="*/ 0 w 4056063"/>
              <a:gd name="connsiteY6" fmla="*/ 794658 h 7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6063" h="794660">
                <a:moveTo>
                  <a:pt x="0" y="0"/>
                </a:moveTo>
                <a:lnTo>
                  <a:pt x="3642405" y="0"/>
                </a:lnTo>
                <a:lnTo>
                  <a:pt x="3642405" y="1"/>
                </a:lnTo>
                <a:lnTo>
                  <a:pt x="4056063" y="397331"/>
                </a:lnTo>
                <a:lnTo>
                  <a:pt x="3642405" y="794660"/>
                </a:lnTo>
                <a:lnTo>
                  <a:pt x="3642405" y="794658"/>
                </a:lnTo>
                <a:lnTo>
                  <a:pt x="0" y="794658"/>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700" b="0" i="0" u="none" strike="noStrike" kern="1200" cap="none" spc="0" normalizeH="0" baseline="0" noProof="0" dirty="0">
                <a:ln>
                  <a:noFill/>
                </a:ln>
                <a:solidFill>
                  <a:prstClr val="white"/>
                </a:solidFill>
                <a:effectLst/>
                <a:uLnTx/>
                <a:uFillTx/>
                <a:latin typeface="Calibri" panose="020F0502020204030204"/>
                <a:ea typeface="+mn-ea"/>
                <a:cs typeface="+mn-cs"/>
              </a:rPr>
              <a:t>Ven </a:t>
            </a:r>
            <a:r>
              <a:rPr kumimoji="0" lang="en-US" sz="2700" b="0" i="0" u="none" strike="noStrike" kern="1200" cap="none" spc="0" normalizeH="0" baseline="0" noProof="0" dirty="0" err="1">
                <a:ln>
                  <a:noFill/>
                </a:ln>
                <a:solidFill>
                  <a:prstClr val="white"/>
                </a:solidFill>
                <a:effectLst/>
                <a:uLnTx/>
                <a:uFillTx/>
                <a:latin typeface="Calibri" panose="020F0502020204030204"/>
                <a:ea typeface="+mn-ea"/>
                <a:cs typeface="+mn-cs"/>
              </a:rPr>
              <a:t>biển</a:t>
            </a:r>
            <a:endParaRPr kumimoji="0" lang="vi-VN" sz="27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2" name="C"/>
          <p:cNvSpPr/>
          <p:nvPr/>
        </p:nvSpPr>
        <p:spPr>
          <a:xfrm flipH="1">
            <a:off x="9316046" y="6122418"/>
            <a:ext cx="6198393" cy="1191990"/>
          </a:xfrm>
          <a:custGeom>
            <a:avLst/>
            <a:gdLst>
              <a:gd name="connsiteX0" fmla="*/ 0 w 4056063"/>
              <a:gd name="connsiteY0" fmla="*/ 0 h 794660"/>
              <a:gd name="connsiteX1" fmla="*/ 3642405 w 4056063"/>
              <a:gd name="connsiteY1" fmla="*/ 0 h 794660"/>
              <a:gd name="connsiteX2" fmla="*/ 3642405 w 4056063"/>
              <a:gd name="connsiteY2" fmla="*/ 1 h 794660"/>
              <a:gd name="connsiteX3" fmla="*/ 4056063 w 4056063"/>
              <a:gd name="connsiteY3" fmla="*/ 397331 h 794660"/>
              <a:gd name="connsiteX4" fmla="*/ 3642405 w 4056063"/>
              <a:gd name="connsiteY4" fmla="*/ 794660 h 794660"/>
              <a:gd name="connsiteX5" fmla="*/ 3642405 w 4056063"/>
              <a:gd name="connsiteY5" fmla="*/ 794658 h 794660"/>
              <a:gd name="connsiteX6" fmla="*/ 0 w 4056063"/>
              <a:gd name="connsiteY6" fmla="*/ 794658 h 7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6063" h="794660">
                <a:moveTo>
                  <a:pt x="0" y="0"/>
                </a:moveTo>
                <a:lnTo>
                  <a:pt x="3642405" y="0"/>
                </a:lnTo>
                <a:lnTo>
                  <a:pt x="3642405" y="1"/>
                </a:lnTo>
                <a:lnTo>
                  <a:pt x="4056063" y="397331"/>
                </a:lnTo>
                <a:lnTo>
                  <a:pt x="3642405" y="794660"/>
                </a:lnTo>
                <a:lnTo>
                  <a:pt x="3642405" y="794658"/>
                </a:lnTo>
                <a:lnTo>
                  <a:pt x="0" y="794658"/>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700" b="0" i="0" u="none" strike="noStrike" kern="1200" cap="none" spc="0" normalizeH="0" baseline="0" noProof="0" dirty="0" err="1">
                <a:ln>
                  <a:noFill/>
                </a:ln>
                <a:solidFill>
                  <a:prstClr val="white"/>
                </a:solidFill>
                <a:effectLst/>
                <a:uLnTx/>
                <a:uFillTx/>
                <a:latin typeface="Calibri" panose="020F0502020204030204"/>
                <a:ea typeface="+mn-ea"/>
                <a:cs typeface="+mn-cs"/>
              </a:rPr>
              <a:t>Rừng</a:t>
            </a:r>
            <a:r>
              <a:rPr kumimoji="0" lang="en-US" sz="27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2700" b="0" i="0" u="none" strike="noStrike" kern="1200" cap="none" spc="0" normalizeH="0" baseline="0" noProof="0" dirty="0" err="1">
                <a:ln>
                  <a:noFill/>
                </a:ln>
                <a:solidFill>
                  <a:prstClr val="white"/>
                </a:solidFill>
                <a:effectLst/>
                <a:uLnTx/>
                <a:uFillTx/>
                <a:latin typeface="Calibri" panose="020F0502020204030204"/>
                <a:ea typeface="+mn-ea"/>
                <a:cs typeface="+mn-cs"/>
              </a:rPr>
              <a:t>núi</a:t>
            </a:r>
            <a:endParaRPr kumimoji="0" lang="vi-VN" sz="27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3" name="D"/>
          <p:cNvSpPr/>
          <p:nvPr/>
        </p:nvSpPr>
        <p:spPr>
          <a:xfrm flipH="1">
            <a:off x="9348702" y="7869575"/>
            <a:ext cx="6198393" cy="1191990"/>
          </a:xfrm>
          <a:custGeom>
            <a:avLst/>
            <a:gdLst>
              <a:gd name="connsiteX0" fmla="*/ 0 w 4056063"/>
              <a:gd name="connsiteY0" fmla="*/ 0 h 794660"/>
              <a:gd name="connsiteX1" fmla="*/ 3642405 w 4056063"/>
              <a:gd name="connsiteY1" fmla="*/ 0 h 794660"/>
              <a:gd name="connsiteX2" fmla="*/ 3642405 w 4056063"/>
              <a:gd name="connsiteY2" fmla="*/ 1 h 794660"/>
              <a:gd name="connsiteX3" fmla="*/ 4056063 w 4056063"/>
              <a:gd name="connsiteY3" fmla="*/ 397331 h 794660"/>
              <a:gd name="connsiteX4" fmla="*/ 3642405 w 4056063"/>
              <a:gd name="connsiteY4" fmla="*/ 794660 h 794660"/>
              <a:gd name="connsiteX5" fmla="*/ 3642405 w 4056063"/>
              <a:gd name="connsiteY5" fmla="*/ 794658 h 794660"/>
              <a:gd name="connsiteX6" fmla="*/ 0 w 4056063"/>
              <a:gd name="connsiteY6" fmla="*/ 794658 h 7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6063" h="794660">
                <a:moveTo>
                  <a:pt x="0" y="0"/>
                </a:moveTo>
                <a:lnTo>
                  <a:pt x="3642405" y="0"/>
                </a:lnTo>
                <a:lnTo>
                  <a:pt x="3642405" y="1"/>
                </a:lnTo>
                <a:lnTo>
                  <a:pt x="4056063" y="397331"/>
                </a:lnTo>
                <a:lnTo>
                  <a:pt x="3642405" y="794660"/>
                </a:lnTo>
                <a:lnTo>
                  <a:pt x="3642405" y="794658"/>
                </a:lnTo>
                <a:lnTo>
                  <a:pt x="0" y="794658"/>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en-US" sz="2700" dirty="0" err="1">
                <a:solidFill>
                  <a:prstClr val="white"/>
                </a:solidFill>
                <a:latin typeface="Calibri" panose="020F0502020204030204"/>
              </a:rPr>
              <a:t>Đồi</a:t>
            </a:r>
            <a:r>
              <a:rPr lang="en-US" sz="2700" dirty="0">
                <a:solidFill>
                  <a:prstClr val="white"/>
                </a:solidFill>
                <a:latin typeface="Calibri" panose="020F0502020204030204"/>
              </a:rPr>
              <a:t> </a:t>
            </a:r>
            <a:r>
              <a:rPr lang="en-US" sz="2700" dirty="0" err="1">
                <a:solidFill>
                  <a:prstClr val="white"/>
                </a:solidFill>
                <a:latin typeface="Calibri" panose="020F0502020204030204"/>
              </a:rPr>
              <a:t>núi</a:t>
            </a:r>
            <a:endParaRPr kumimoji="0" lang="vi-VN" sz="27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5" name="Rounded Rectangle 23"/>
          <p:cNvSpPr/>
          <p:nvPr/>
        </p:nvSpPr>
        <p:spPr>
          <a:xfrm>
            <a:off x="8084634" y="1316610"/>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10</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16" name="Rounded Rectangle 24"/>
          <p:cNvSpPr/>
          <p:nvPr/>
        </p:nvSpPr>
        <p:spPr>
          <a:xfrm>
            <a:off x="8084634" y="1338788"/>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9</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17" name="Rounded Rectangle 25"/>
          <p:cNvSpPr/>
          <p:nvPr/>
        </p:nvSpPr>
        <p:spPr>
          <a:xfrm>
            <a:off x="8084634" y="1353732"/>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8</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18" name="Rounded Rectangle 26"/>
          <p:cNvSpPr/>
          <p:nvPr/>
        </p:nvSpPr>
        <p:spPr>
          <a:xfrm>
            <a:off x="8084634" y="1339266"/>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7</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19" name="Rounded Rectangle 27"/>
          <p:cNvSpPr/>
          <p:nvPr/>
        </p:nvSpPr>
        <p:spPr>
          <a:xfrm>
            <a:off x="8084634" y="1316610"/>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6</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0" name="Rounded Rectangle 28"/>
          <p:cNvSpPr/>
          <p:nvPr/>
        </p:nvSpPr>
        <p:spPr>
          <a:xfrm>
            <a:off x="8084634" y="1346499"/>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5</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1" name="Rounded Rectangle 29"/>
          <p:cNvSpPr/>
          <p:nvPr/>
        </p:nvSpPr>
        <p:spPr>
          <a:xfrm>
            <a:off x="8084634" y="1331555"/>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4</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2" name="Rounded Rectangle 30"/>
          <p:cNvSpPr/>
          <p:nvPr/>
        </p:nvSpPr>
        <p:spPr>
          <a:xfrm>
            <a:off x="8084634" y="1316610"/>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3</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3" name="Rounded Rectangle 31"/>
          <p:cNvSpPr/>
          <p:nvPr/>
        </p:nvSpPr>
        <p:spPr>
          <a:xfrm>
            <a:off x="8084634" y="1286721"/>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2</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4" name="Rounded Rectangle 32"/>
          <p:cNvSpPr/>
          <p:nvPr/>
        </p:nvSpPr>
        <p:spPr>
          <a:xfrm>
            <a:off x="8084634" y="1301666"/>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1</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5" name="Rounded Rectangle 33"/>
          <p:cNvSpPr/>
          <p:nvPr/>
        </p:nvSpPr>
        <p:spPr>
          <a:xfrm>
            <a:off x="8084634" y="1301666"/>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0</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pic>
        <p:nvPicPr>
          <p:cNvPr id="26" name="Picture 2" descr="Káº¿t quáº£ hÃ¬nh áº£nh cho icon Äá»ng há»"/>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713534" y="1260206"/>
            <a:ext cx="1171311" cy="118586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Hoa Đào png tách nề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372647"/>
            <a:ext cx="7315200" cy="598646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hlinkClick r:id="rId5" action="ppaction://hlinksldjump"/>
          </p:cNvPr>
          <p:cNvPicPr>
            <a:picLocks noChangeAspect="1"/>
          </p:cNvPicPr>
          <p:nvPr/>
        </p:nvPicPr>
        <p:blipFill>
          <a:blip r:embed="rId6">
            <a:extLst>
              <a:ext uri="{BEBA8EAE-BF5A-486C-A8C5-ECC9F3942E4B}">
                <a14:imgProps xmlns:a14="http://schemas.microsoft.com/office/drawing/2010/main">
                  <a14:imgLayer r:embed="rId7">
                    <a14:imgEffect>
                      <a14:backgroundRemoval t="2346" b="100000" l="0" r="95690"/>
                    </a14:imgEffect>
                  </a14:imgLayer>
                </a14:imgProps>
              </a:ext>
            </a:extLst>
          </a:blip>
          <a:stretch>
            <a:fillRect/>
          </a:stretch>
        </p:blipFill>
        <p:spPr>
          <a:xfrm>
            <a:off x="14167119" y="1213332"/>
            <a:ext cx="1080468" cy="1058735"/>
          </a:xfrm>
          <a:prstGeom prst="rect">
            <a:avLst/>
          </a:prstGeom>
        </p:spPr>
      </p:pic>
      <p:sp>
        <p:nvSpPr>
          <p:cNvPr id="27" name="Frame 26"/>
          <p:cNvSpPr/>
          <p:nvPr/>
        </p:nvSpPr>
        <p:spPr>
          <a:xfrm>
            <a:off x="0" y="0"/>
            <a:ext cx="18288000" cy="10287000"/>
          </a:xfrm>
          <a:prstGeom prst="frame">
            <a:avLst>
              <a:gd name="adj1" fmla="val 1528"/>
            </a:avLst>
          </a:prstGeom>
          <a:blipFill>
            <a:blip r:embed="rId8"/>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after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1" nodeType="afterEffect">
                                  <p:stCondLst>
                                    <p:cond delay="0"/>
                                  </p:stCondLst>
                                  <p:childTnLst>
                                    <p:set>
                                      <p:cBhvr>
                                        <p:cTn id="9" dur="1" fill="hold">
                                          <p:stCondLst>
                                            <p:cond delay="0"/>
                                          </p:stCondLst>
                                        </p:cTn>
                                        <p:tgtEl>
                                          <p:spTgt spid="11"/>
                                        </p:tgtEl>
                                        <p:attrNameLst>
                                          <p:attrName>style.visibility</p:attrName>
                                        </p:attrNameLst>
                                      </p:cBhvr>
                                      <p:to>
                                        <p:strVal val="visible"/>
                                      </p:to>
                                    </p:set>
                                  </p:childTnLst>
                                  <p:subTnLst>
                                    <p:audio>
                                      <p:cMediaNode>
                                        <p:cTn display="0" masterRel="sameClick">
                                          <p:stCondLst>
                                            <p:cond evt="begin" delay="0">
                                              <p:tn val="8"/>
                                            </p:cond>
                                          </p:stCondLst>
                                          <p:endCondLst>
                                            <p:cond evt="onStopAudio" delay="0">
                                              <p:tgtEl>
                                                <p:sldTgt/>
                                              </p:tgtEl>
                                            </p:cond>
                                          </p:endCondLst>
                                        </p:cTn>
                                        <p:tgtEl>
                                          <p:sndTgt r:embed="rId9" name="bomb.wav"/>
                                        </p:tgtEl>
                                      </p:cMediaNode>
                                    </p:audio>
                                  </p:subTnLst>
                                </p:cTn>
                              </p:par>
                            </p:childTnLst>
                          </p:cTn>
                        </p:par>
                        <p:par>
                          <p:cTn id="10" fill="hold">
                            <p:stCondLst>
                              <p:cond delay="0"/>
                            </p:stCondLst>
                            <p:childTnLst>
                              <p:par>
                                <p:cTn id="11" presetID="1" presetClass="entr" presetSubtype="0" fill="hold" grpId="1" nodeType="afterEffect">
                                  <p:stCondLst>
                                    <p:cond delay="0"/>
                                  </p:stCondLst>
                                  <p:childTnLst>
                                    <p:set>
                                      <p:cBhvr>
                                        <p:cTn id="12" dur="1" fill="hold">
                                          <p:stCondLst>
                                            <p:cond delay="0"/>
                                          </p:stCondLst>
                                        </p:cTn>
                                        <p:tgtEl>
                                          <p:spTgt spid="12"/>
                                        </p:tgtEl>
                                        <p:attrNameLst>
                                          <p:attrName>style.visibility</p:attrName>
                                        </p:attrNameLst>
                                      </p:cBhvr>
                                      <p:to>
                                        <p:strVal val="visible"/>
                                      </p:to>
                                    </p:set>
                                  </p:childTnLst>
                                  <p:subTnLst>
                                    <p:audio>
                                      <p:cMediaNode>
                                        <p:cTn display="0" masterRel="sameClick">
                                          <p:stCondLst>
                                            <p:cond evt="begin" delay="0">
                                              <p:tn val="11"/>
                                            </p:cond>
                                          </p:stCondLst>
                                          <p:endCondLst>
                                            <p:cond evt="onStopAudio" delay="0">
                                              <p:tgtEl>
                                                <p:sldTgt/>
                                              </p:tgtEl>
                                            </p:cond>
                                          </p:endCondLst>
                                        </p:cTn>
                                        <p:tgtEl>
                                          <p:sndTgt r:embed="rId9" name="bomb.wav"/>
                                        </p:tgtEl>
                                      </p:cMediaNode>
                                    </p:audio>
                                  </p:subTnLst>
                                </p:cTn>
                              </p:par>
                            </p:childTnLst>
                          </p:cTn>
                        </p:par>
                        <p:par>
                          <p:cTn id="13" fill="hold">
                            <p:stCondLst>
                              <p:cond delay="0"/>
                            </p:stCondLst>
                            <p:childTnLst>
                              <p:par>
                                <p:cTn id="14" presetID="1" presetClass="entr" presetSubtype="0" fill="hold" grpId="1" nodeType="afterEffect">
                                  <p:stCondLst>
                                    <p:cond delay="0"/>
                                  </p:stCondLst>
                                  <p:childTnLst>
                                    <p:set>
                                      <p:cBhvr>
                                        <p:cTn id="15" dur="1" fill="hold">
                                          <p:stCondLst>
                                            <p:cond delay="0"/>
                                          </p:stCondLst>
                                        </p:cTn>
                                        <p:tgtEl>
                                          <p:spTgt spid="13"/>
                                        </p:tgtEl>
                                        <p:attrNameLst>
                                          <p:attrName>style.visibility</p:attrName>
                                        </p:attrNameLst>
                                      </p:cBhvr>
                                      <p:to>
                                        <p:strVal val="visible"/>
                                      </p:to>
                                    </p:set>
                                  </p:childTnLst>
                                  <p:subTnLst>
                                    <p:audio>
                                      <p:cMediaNode>
                                        <p:cTn display="0" masterRel="sameClick">
                                          <p:stCondLst>
                                            <p:cond evt="begin" delay="0">
                                              <p:tn val="14"/>
                                            </p:cond>
                                          </p:stCondLst>
                                          <p:endCondLst>
                                            <p:cond evt="onStopAudio" delay="0">
                                              <p:tgtEl>
                                                <p:sldTgt/>
                                              </p:tgtEl>
                                            </p:cond>
                                          </p:endCondLst>
                                        </p:cTn>
                                        <p:tgtEl>
                                          <p:sndTgt r:embed="rId9" name="bomb.wav"/>
                                        </p:tgtEl>
                                      </p:cMediaNode>
                                    </p:audio>
                                  </p:subTnLst>
                                </p:cTn>
                              </p:par>
                            </p:childTnLst>
                          </p:cTn>
                        </p:par>
                      </p:childTnLst>
                    </p:cTn>
                  </p:par>
                </p:childTnLst>
              </p:cTn>
              <p:prevCondLst>
                <p:cond evt="onPrev" delay="0">
                  <p:tgtEl>
                    <p:sldTgt/>
                  </p:tgtEl>
                </p:cond>
              </p:prevCondLst>
              <p:nextCondLst>
                <p:cond evt="onNext" delay="0">
                  <p:tgtEl>
                    <p:sldTgt/>
                  </p:tgtEl>
                </p:cond>
              </p:nextCondLst>
            </p:seq>
            <p:seq concurrent="1" nextAc="seek">
              <p:cTn id="16" restart="whenNotActive" fill="hold" evtFilter="cancelBubble" nodeType="interactiveSeq">
                <p:stCondLst>
                  <p:cond evt="onClick" delay="0">
                    <p:tgtEl>
                      <p:spTgt spid="10"/>
                    </p:tgtEl>
                  </p:cond>
                </p:stCondLst>
                <p:endSync evt="end" delay="0">
                  <p:rtn val="all"/>
                </p:endSync>
                <p:childTnLst>
                  <p:par>
                    <p:cTn id="17" fill="hold">
                      <p:stCondLst>
                        <p:cond delay="0"/>
                      </p:stCondLst>
                      <p:childTnLst>
                        <p:par>
                          <p:cTn id="18" fill="hold">
                            <p:stCondLst>
                              <p:cond delay="0"/>
                            </p:stCondLst>
                            <p:childTnLst>
                              <p:par>
                                <p:cTn id="19" presetID="30" presetClass="emph" presetSubtype="0" fill="hold" grpId="0" nodeType="clickEffect">
                                  <p:stCondLst>
                                    <p:cond delay="0"/>
                                  </p:stCondLst>
                                  <p:childTnLst>
                                    <p:animClr clrSpc="hsl" dir="cw">
                                      <p:cBhvr override="childStyle">
                                        <p:cTn id="20" dur="500" fill="hold"/>
                                        <p:tgtEl>
                                          <p:spTgt spid="10"/>
                                        </p:tgtEl>
                                        <p:attrNameLst>
                                          <p:attrName>style.color</p:attrName>
                                        </p:attrNameLst>
                                      </p:cBhvr>
                                      <p:by>
                                        <p:hsl h="0" s="12549" l="25098"/>
                                      </p:by>
                                    </p:animClr>
                                    <p:animClr clrSpc="hsl" dir="cw">
                                      <p:cBhvr>
                                        <p:cTn id="21" dur="500" fill="hold"/>
                                        <p:tgtEl>
                                          <p:spTgt spid="10"/>
                                        </p:tgtEl>
                                        <p:attrNameLst>
                                          <p:attrName>fillcolor</p:attrName>
                                        </p:attrNameLst>
                                      </p:cBhvr>
                                      <p:by>
                                        <p:hsl h="0" s="12549" l="25098"/>
                                      </p:by>
                                    </p:animClr>
                                    <p:animClr clrSpc="hsl" dir="cw">
                                      <p:cBhvr>
                                        <p:cTn id="22" dur="500" fill="hold"/>
                                        <p:tgtEl>
                                          <p:spTgt spid="10"/>
                                        </p:tgtEl>
                                        <p:attrNameLst>
                                          <p:attrName>stroke.color</p:attrName>
                                        </p:attrNameLst>
                                      </p:cBhvr>
                                      <p:by>
                                        <p:hsl h="0" s="12549" l="25098"/>
                                      </p:by>
                                    </p:animClr>
                                    <p:set>
                                      <p:cBhvr>
                                        <p:cTn id="23" dur="500" fill="hold"/>
                                        <p:tgtEl>
                                          <p:spTgt spid="10"/>
                                        </p:tgtEl>
                                        <p:attrNameLst>
                                          <p:attrName>fill.type</p:attrName>
                                        </p:attrNameLst>
                                      </p:cBhvr>
                                      <p:to>
                                        <p:strVal val="solid"/>
                                      </p:to>
                                    </p:set>
                                  </p:childTnLst>
                                  <p:subTnLst>
                                    <p:audio>
                                      <p:cMediaNode>
                                        <p:cTn display="0" masterRel="sameClick">
                                          <p:stCondLst>
                                            <p:cond evt="begin" delay="0">
                                              <p:tn val="19"/>
                                            </p:cond>
                                          </p:stCondLst>
                                          <p:endCondLst>
                                            <p:cond evt="onStopAudio" delay="0">
                                              <p:tgtEl>
                                                <p:sldTgt/>
                                              </p:tgtEl>
                                            </p:cond>
                                          </p:endCondLst>
                                        </p:cTn>
                                        <p:tgtEl>
                                          <p:sndTgt r:embed="rId10" name="applause.wav"/>
                                        </p:tgtEl>
                                      </p:cMediaNode>
                                    </p:audio>
                                    <p:animClr clrSpc="rgb" dir="cw">
                                      <p:cBhvr override="childStyle">
                                        <p:cTn dur="1" fill="hold" display="0" masterRel="nextClick" afterEffect="1"/>
                                        <p:tgtEl>
                                          <p:spTgt spid="10"/>
                                        </p:tgtEl>
                                        <p:attrNameLst>
                                          <p:attrName>ppt_c</p:attrName>
                                        </p:attrNameLst>
                                      </p:cBhvr>
                                      <p:to>
                                        <a:schemeClr val="accent2"/>
                                      </p:to>
                                    </p:animClr>
                                  </p:subTnLst>
                                </p:cTn>
                              </p:par>
                            </p:childTnLst>
                          </p:cTn>
                        </p:par>
                      </p:childTnLst>
                    </p:cTn>
                  </p:par>
                </p:childTnLst>
              </p:cTn>
              <p:nextCondLst>
                <p:cond evt="onClick" delay="0">
                  <p:tgtEl>
                    <p:spTgt spid="10"/>
                  </p:tgtEl>
                </p:cond>
              </p:nextCondLst>
            </p:seq>
            <p:seq concurrent="1" nextAc="seek">
              <p:cTn id="24" restart="whenNotActive" fill="hold" evtFilter="cancelBubble" nodeType="interactiveSeq">
                <p:stCondLst>
                  <p:cond evt="onClick" delay="0">
                    <p:tgtEl>
                      <p:spTgt spid="11"/>
                    </p:tgtEl>
                  </p:cond>
                </p:stCondLst>
                <p:endSync evt="end" delay="0">
                  <p:rtn val="all"/>
                </p:endSync>
                <p:childTnLst>
                  <p:par>
                    <p:cTn id="25" fill="hold">
                      <p:stCondLst>
                        <p:cond delay="0"/>
                      </p:stCondLst>
                      <p:childTnLst>
                        <p:par>
                          <p:cTn id="26" fill="hold">
                            <p:stCondLst>
                              <p:cond delay="0"/>
                            </p:stCondLst>
                            <p:childTnLst>
                              <p:par>
                                <p:cTn id="27" presetID="26" presetClass="emph" presetSubtype="0" fill="hold" grpId="0" nodeType="clickEffect">
                                  <p:stCondLst>
                                    <p:cond delay="0"/>
                                  </p:stCondLst>
                                  <p:childTnLst>
                                    <p:animEffect transition="out" filter="fade">
                                      <p:cBhvr>
                                        <p:cTn id="28" dur="500" tmFilter="0, 0; .2, .5; .8, .5; 1, 0"/>
                                        <p:tgtEl>
                                          <p:spTgt spid="11"/>
                                        </p:tgtEl>
                                      </p:cBhvr>
                                    </p:animEffect>
                                    <p:animScale>
                                      <p:cBhvr>
                                        <p:cTn id="29" dur="250" autoRev="1" fill="hold"/>
                                        <p:tgtEl>
                                          <p:spTgt spid="11"/>
                                        </p:tgtEl>
                                      </p:cBhvr>
                                      <p:by x="105000" y="105000"/>
                                    </p:animScale>
                                  </p:childTnLst>
                                  <p:subTnLst>
                                    <p:audio>
                                      <p:cMediaNode>
                                        <p:cTn display="0" masterRel="sameClick">
                                          <p:stCondLst>
                                            <p:cond evt="begin" delay="0">
                                              <p:tn val="27"/>
                                            </p:cond>
                                          </p:stCondLst>
                                          <p:endCondLst>
                                            <p:cond evt="onStopAudio" delay="0">
                                              <p:tgtEl>
                                                <p:sldTgt/>
                                              </p:tgtEl>
                                            </p:cond>
                                          </p:endCondLst>
                                        </p:cTn>
                                        <p:tgtEl>
                                          <p:sndTgt r:embed="rId9" name="bomb.wav"/>
                                        </p:tgtEl>
                                      </p:cMediaNode>
                                    </p:audio>
                                  </p:subTnLst>
                                </p:cTn>
                              </p:par>
                            </p:childTnLst>
                          </p:cTn>
                        </p:par>
                      </p:childTnLst>
                    </p:cTn>
                  </p:par>
                </p:childTnLst>
              </p:cTn>
              <p:nextCondLst>
                <p:cond evt="onClick" delay="0">
                  <p:tgtEl>
                    <p:spTgt spid="11"/>
                  </p:tgtEl>
                </p:cond>
              </p:nextCondLst>
            </p:seq>
            <p:seq concurrent="1" nextAc="seek">
              <p:cTn id="30" restart="whenNotActive" fill="hold" evtFilter="cancelBubble" nodeType="interactiveSeq">
                <p:stCondLst>
                  <p:cond evt="onClick" delay="0">
                    <p:tgtEl>
                      <p:spTgt spid="12"/>
                    </p:tgtEl>
                  </p:cond>
                </p:stCondLst>
                <p:endSync evt="end" delay="0">
                  <p:rtn val="all"/>
                </p:endSync>
                <p:childTnLst>
                  <p:par>
                    <p:cTn id="31" fill="hold">
                      <p:stCondLst>
                        <p:cond delay="0"/>
                      </p:stCondLst>
                      <p:childTnLst>
                        <p:par>
                          <p:cTn id="32" fill="hold">
                            <p:stCondLst>
                              <p:cond delay="0"/>
                            </p:stCondLst>
                            <p:childTnLst>
                              <p:par>
                                <p:cTn id="33" presetID="26" presetClass="emph" presetSubtype="0" fill="hold" grpId="0" nodeType="clickEffect">
                                  <p:stCondLst>
                                    <p:cond delay="0"/>
                                  </p:stCondLst>
                                  <p:childTnLst>
                                    <p:animEffect transition="out" filter="fade">
                                      <p:cBhvr>
                                        <p:cTn id="34" dur="500" tmFilter="0, 0; .2, .5; .8, .5; 1, 0"/>
                                        <p:tgtEl>
                                          <p:spTgt spid="12"/>
                                        </p:tgtEl>
                                      </p:cBhvr>
                                    </p:animEffect>
                                    <p:animScale>
                                      <p:cBhvr>
                                        <p:cTn id="35" dur="250" autoRev="1" fill="hold"/>
                                        <p:tgtEl>
                                          <p:spTgt spid="12"/>
                                        </p:tgtEl>
                                      </p:cBhvr>
                                      <p:by x="105000" y="105000"/>
                                    </p:animScale>
                                  </p:childTnLst>
                                  <p:subTnLst>
                                    <p:audio>
                                      <p:cMediaNode>
                                        <p:cTn display="0" masterRel="sameClick">
                                          <p:stCondLst>
                                            <p:cond evt="begin" delay="0">
                                              <p:tn val="33"/>
                                            </p:cond>
                                          </p:stCondLst>
                                          <p:endCondLst>
                                            <p:cond evt="onStopAudio" delay="0">
                                              <p:tgtEl>
                                                <p:sldTgt/>
                                              </p:tgtEl>
                                            </p:cond>
                                          </p:endCondLst>
                                        </p:cTn>
                                        <p:tgtEl>
                                          <p:sndTgt r:embed="rId9" name="bomb.wav"/>
                                        </p:tgtEl>
                                      </p:cMediaNode>
                                    </p:audio>
                                  </p:subTnLst>
                                </p:cTn>
                              </p:par>
                            </p:childTnLst>
                          </p:cTn>
                        </p:par>
                      </p:childTnLst>
                    </p:cTn>
                  </p:par>
                </p:childTnLst>
              </p:cTn>
              <p:nextCondLst>
                <p:cond evt="onClick" delay="0">
                  <p:tgtEl>
                    <p:spTgt spid="12"/>
                  </p:tgtEl>
                </p:cond>
              </p:nextCondLst>
            </p:seq>
            <p:seq concurrent="1" nextAc="seek">
              <p:cTn id="36" restart="whenNotActive" fill="hold" evtFilter="cancelBubble" nodeType="interactiveSeq">
                <p:stCondLst>
                  <p:cond evt="onClick" delay="0">
                    <p:tgtEl>
                      <p:spTgt spid="13"/>
                    </p:tgtEl>
                  </p:cond>
                </p:stCondLst>
                <p:endSync evt="end" delay="0">
                  <p:rtn val="all"/>
                </p:endSync>
                <p:childTnLst>
                  <p:par>
                    <p:cTn id="37" fill="hold">
                      <p:stCondLst>
                        <p:cond delay="0"/>
                      </p:stCondLst>
                      <p:childTnLst>
                        <p:par>
                          <p:cTn id="38" fill="hold">
                            <p:stCondLst>
                              <p:cond delay="0"/>
                            </p:stCondLst>
                            <p:childTnLst>
                              <p:par>
                                <p:cTn id="39" presetID="26" presetClass="emph" presetSubtype="0" fill="hold" grpId="0" nodeType="clickEffect">
                                  <p:stCondLst>
                                    <p:cond delay="0"/>
                                  </p:stCondLst>
                                  <p:childTnLst>
                                    <p:animEffect transition="out" filter="fade">
                                      <p:cBhvr>
                                        <p:cTn id="40" dur="500" tmFilter="0, 0; .2, .5; .8, .5; 1, 0"/>
                                        <p:tgtEl>
                                          <p:spTgt spid="13"/>
                                        </p:tgtEl>
                                      </p:cBhvr>
                                    </p:animEffect>
                                    <p:animScale>
                                      <p:cBhvr>
                                        <p:cTn id="41" dur="250" autoRev="1" fill="hold"/>
                                        <p:tgtEl>
                                          <p:spTgt spid="13"/>
                                        </p:tgtEl>
                                      </p:cBhvr>
                                      <p:by x="105000" y="105000"/>
                                    </p:animScale>
                                  </p:childTnLst>
                                  <p:subTnLst>
                                    <p:audio>
                                      <p:cMediaNode>
                                        <p:cTn display="0" masterRel="sameClick">
                                          <p:stCondLst>
                                            <p:cond evt="begin" delay="0">
                                              <p:tn val="39"/>
                                            </p:cond>
                                          </p:stCondLst>
                                          <p:endCondLst>
                                            <p:cond evt="onStopAudio" delay="0">
                                              <p:tgtEl>
                                                <p:sldTgt/>
                                              </p:tgtEl>
                                            </p:cond>
                                          </p:endCondLst>
                                        </p:cTn>
                                        <p:tgtEl>
                                          <p:sndTgt r:embed="rId9" name="bomb.wav"/>
                                        </p:tgtEl>
                                      </p:cMediaNode>
                                    </p:audio>
                                  </p:subTnLst>
                                </p:cTn>
                              </p:par>
                            </p:childTnLst>
                          </p:cTn>
                        </p:par>
                      </p:childTnLst>
                    </p:cTn>
                  </p:par>
                </p:childTnLst>
              </p:cTn>
              <p:nextCondLst>
                <p:cond evt="onClick" delay="0">
                  <p:tgtEl>
                    <p:spTgt spid="13"/>
                  </p:tgtEl>
                </p:cond>
              </p:nextCondLst>
            </p:seq>
            <p:seq concurrent="1" nextAc="seek">
              <p:cTn id="42" restart="whenNotActive" fill="hold" evtFilter="cancelBubble" nodeType="interactiveSeq">
                <p:stCondLst>
                  <p:cond evt="onClick" delay="0">
                    <p:tgtEl>
                      <p:spTgt spid="26"/>
                    </p:tgtEl>
                  </p:cond>
                </p:stCondLst>
                <p:endSync evt="end" delay="0">
                  <p:rtn val="all"/>
                </p:endSync>
                <p:childTnLst>
                  <p:par>
                    <p:cTn id="43" fill="hold">
                      <p:stCondLst>
                        <p:cond delay="0"/>
                      </p:stCondLst>
                      <p:childTnLst>
                        <p:par>
                          <p:cTn id="44" fill="hold">
                            <p:stCondLst>
                              <p:cond delay="0"/>
                            </p:stCondLst>
                            <p:childTnLst>
                              <p:par>
                                <p:cTn id="45" presetID="11" presetClass="entr" presetSubtype="0" fill="hold" grpId="0" nodeType="afterEffect">
                                  <p:stCondLst>
                                    <p:cond delay="0"/>
                                  </p:stCondLst>
                                  <p:childTnLst>
                                    <p:set>
                                      <p:cBhvr>
                                        <p:cTn id="46" dur="1000">
                                          <p:stCondLst>
                                            <p:cond delay="0"/>
                                          </p:stCondLst>
                                        </p:cTn>
                                        <p:tgtEl>
                                          <p:spTgt spid="15"/>
                                        </p:tgtEl>
                                        <p:attrNameLst>
                                          <p:attrName>style.visibility</p:attrName>
                                        </p:attrNameLst>
                                      </p:cBhvr>
                                      <p:to>
                                        <p:strVal val="visible"/>
                                      </p:to>
                                    </p:set>
                                  </p:childTnLst>
                                </p:cTn>
                              </p:par>
                            </p:childTnLst>
                          </p:cTn>
                        </p:par>
                        <p:par>
                          <p:cTn id="47" fill="hold">
                            <p:stCondLst>
                              <p:cond delay="1000"/>
                            </p:stCondLst>
                            <p:childTnLst>
                              <p:par>
                                <p:cTn id="48" presetID="11" presetClass="entr" presetSubtype="0" fill="hold" grpId="0" nodeType="afterEffect">
                                  <p:stCondLst>
                                    <p:cond delay="0"/>
                                  </p:stCondLst>
                                  <p:childTnLst>
                                    <p:set>
                                      <p:cBhvr>
                                        <p:cTn id="49" dur="1000">
                                          <p:stCondLst>
                                            <p:cond delay="0"/>
                                          </p:stCondLst>
                                        </p:cTn>
                                        <p:tgtEl>
                                          <p:spTgt spid="16"/>
                                        </p:tgtEl>
                                        <p:attrNameLst>
                                          <p:attrName>style.visibility</p:attrName>
                                        </p:attrNameLst>
                                      </p:cBhvr>
                                      <p:to>
                                        <p:strVal val="visible"/>
                                      </p:to>
                                    </p:set>
                                  </p:childTnLst>
                                </p:cTn>
                              </p:par>
                            </p:childTnLst>
                          </p:cTn>
                        </p:par>
                        <p:par>
                          <p:cTn id="50" fill="hold">
                            <p:stCondLst>
                              <p:cond delay="2000"/>
                            </p:stCondLst>
                            <p:childTnLst>
                              <p:par>
                                <p:cTn id="51" presetID="11" presetClass="entr" presetSubtype="0" fill="hold" grpId="0" nodeType="afterEffect">
                                  <p:stCondLst>
                                    <p:cond delay="0"/>
                                  </p:stCondLst>
                                  <p:childTnLst>
                                    <p:set>
                                      <p:cBhvr>
                                        <p:cTn id="52" dur="1000">
                                          <p:stCondLst>
                                            <p:cond delay="0"/>
                                          </p:stCondLst>
                                        </p:cTn>
                                        <p:tgtEl>
                                          <p:spTgt spid="17"/>
                                        </p:tgtEl>
                                        <p:attrNameLst>
                                          <p:attrName>style.visibility</p:attrName>
                                        </p:attrNameLst>
                                      </p:cBhvr>
                                      <p:to>
                                        <p:strVal val="visible"/>
                                      </p:to>
                                    </p:set>
                                  </p:childTnLst>
                                </p:cTn>
                              </p:par>
                            </p:childTnLst>
                          </p:cTn>
                        </p:par>
                        <p:par>
                          <p:cTn id="53" fill="hold">
                            <p:stCondLst>
                              <p:cond delay="3000"/>
                            </p:stCondLst>
                            <p:childTnLst>
                              <p:par>
                                <p:cTn id="54" presetID="11" presetClass="entr" presetSubtype="0" fill="hold" grpId="0" nodeType="afterEffect">
                                  <p:stCondLst>
                                    <p:cond delay="0"/>
                                  </p:stCondLst>
                                  <p:childTnLst>
                                    <p:set>
                                      <p:cBhvr>
                                        <p:cTn id="55" dur="1000">
                                          <p:stCondLst>
                                            <p:cond delay="0"/>
                                          </p:stCondLst>
                                        </p:cTn>
                                        <p:tgtEl>
                                          <p:spTgt spid="18"/>
                                        </p:tgtEl>
                                        <p:attrNameLst>
                                          <p:attrName>style.visibility</p:attrName>
                                        </p:attrNameLst>
                                      </p:cBhvr>
                                      <p:to>
                                        <p:strVal val="visible"/>
                                      </p:to>
                                    </p:set>
                                  </p:childTnLst>
                                </p:cTn>
                              </p:par>
                            </p:childTnLst>
                          </p:cTn>
                        </p:par>
                        <p:par>
                          <p:cTn id="56" fill="hold">
                            <p:stCondLst>
                              <p:cond delay="4000"/>
                            </p:stCondLst>
                            <p:childTnLst>
                              <p:par>
                                <p:cTn id="57" presetID="11" presetClass="entr" presetSubtype="0" fill="hold" grpId="0" nodeType="afterEffect">
                                  <p:stCondLst>
                                    <p:cond delay="0"/>
                                  </p:stCondLst>
                                  <p:childTnLst>
                                    <p:set>
                                      <p:cBhvr>
                                        <p:cTn id="58" dur="1000">
                                          <p:stCondLst>
                                            <p:cond delay="0"/>
                                          </p:stCondLst>
                                        </p:cTn>
                                        <p:tgtEl>
                                          <p:spTgt spid="19"/>
                                        </p:tgtEl>
                                        <p:attrNameLst>
                                          <p:attrName>style.visibility</p:attrName>
                                        </p:attrNameLst>
                                      </p:cBhvr>
                                      <p:to>
                                        <p:strVal val="visible"/>
                                      </p:to>
                                    </p:set>
                                  </p:childTnLst>
                                </p:cTn>
                              </p:par>
                            </p:childTnLst>
                          </p:cTn>
                        </p:par>
                        <p:par>
                          <p:cTn id="59" fill="hold">
                            <p:stCondLst>
                              <p:cond delay="5000"/>
                            </p:stCondLst>
                            <p:childTnLst>
                              <p:par>
                                <p:cTn id="60" presetID="11" presetClass="entr" presetSubtype="0" fill="hold" grpId="0" nodeType="afterEffect">
                                  <p:stCondLst>
                                    <p:cond delay="0"/>
                                  </p:stCondLst>
                                  <p:childTnLst>
                                    <p:set>
                                      <p:cBhvr>
                                        <p:cTn id="61" dur="1000">
                                          <p:stCondLst>
                                            <p:cond delay="0"/>
                                          </p:stCondLst>
                                        </p:cTn>
                                        <p:tgtEl>
                                          <p:spTgt spid="20"/>
                                        </p:tgtEl>
                                        <p:attrNameLst>
                                          <p:attrName>style.visibility</p:attrName>
                                        </p:attrNameLst>
                                      </p:cBhvr>
                                      <p:to>
                                        <p:strVal val="visible"/>
                                      </p:to>
                                    </p:set>
                                  </p:childTnLst>
                                </p:cTn>
                              </p:par>
                            </p:childTnLst>
                          </p:cTn>
                        </p:par>
                        <p:par>
                          <p:cTn id="62" fill="hold">
                            <p:stCondLst>
                              <p:cond delay="6000"/>
                            </p:stCondLst>
                            <p:childTnLst>
                              <p:par>
                                <p:cTn id="63" presetID="11" presetClass="entr" presetSubtype="0" fill="hold" grpId="0" nodeType="afterEffect">
                                  <p:stCondLst>
                                    <p:cond delay="0"/>
                                  </p:stCondLst>
                                  <p:childTnLst>
                                    <p:set>
                                      <p:cBhvr>
                                        <p:cTn id="64" dur="1000">
                                          <p:stCondLst>
                                            <p:cond delay="0"/>
                                          </p:stCondLst>
                                        </p:cTn>
                                        <p:tgtEl>
                                          <p:spTgt spid="21"/>
                                        </p:tgtEl>
                                        <p:attrNameLst>
                                          <p:attrName>style.visibility</p:attrName>
                                        </p:attrNameLst>
                                      </p:cBhvr>
                                      <p:to>
                                        <p:strVal val="visible"/>
                                      </p:to>
                                    </p:set>
                                  </p:childTnLst>
                                </p:cTn>
                              </p:par>
                            </p:childTnLst>
                          </p:cTn>
                        </p:par>
                        <p:par>
                          <p:cTn id="65" fill="hold">
                            <p:stCondLst>
                              <p:cond delay="7000"/>
                            </p:stCondLst>
                            <p:childTnLst>
                              <p:par>
                                <p:cTn id="66" presetID="11" presetClass="entr" presetSubtype="0" fill="hold" grpId="0" nodeType="afterEffect">
                                  <p:stCondLst>
                                    <p:cond delay="0"/>
                                  </p:stCondLst>
                                  <p:childTnLst>
                                    <p:set>
                                      <p:cBhvr>
                                        <p:cTn id="67" dur="1000">
                                          <p:stCondLst>
                                            <p:cond delay="0"/>
                                          </p:stCondLst>
                                        </p:cTn>
                                        <p:tgtEl>
                                          <p:spTgt spid="22"/>
                                        </p:tgtEl>
                                        <p:attrNameLst>
                                          <p:attrName>style.visibility</p:attrName>
                                        </p:attrNameLst>
                                      </p:cBhvr>
                                      <p:to>
                                        <p:strVal val="visible"/>
                                      </p:to>
                                    </p:set>
                                  </p:childTnLst>
                                </p:cTn>
                              </p:par>
                            </p:childTnLst>
                          </p:cTn>
                        </p:par>
                        <p:par>
                          <p:cTn id="68" fill="hold">
                            <p:stCondLst>
                              <p:cond delay="8000"/>
                            </p:stCondLst>
                            <p:childTnLst>
                              <p:par>
                                <p:cTn id="69" presetID="11" presetClass="entr" presetSubtype="0" fill="hold" grpId="0" nodeType="afterEffect">
                                  <p:stCondLst>
                                    <p:cond delay="0"/>
                                  </p:stCondLst>
                                  <p:childTnLst>
                                    <p:set>
                                      <p:cBhvr>
                                        <p:cTn id="70" dur="1000">
                                          <p:stCondLst>
                                            <p:cond delay="0"/>
                                          </p:stCondLst>
                                        </p:cTn>
                                        <p:tgtEl>
                                          <p:spTgt spid="23"/>
                                        </p:tgtEl>
                                        <p:attrNameLst>
                                          <p:attrName>style.visibility</p:attrName>
                                        </p:attrNameLst>
                                      </p:cBhvr>
                                      <p:to>
                                        <p:strVal val="visible"/>
                                      </p:to>
                                    </p:set>
                                  </p:childTnLst>
                                </p:cTn>
                              </p:par>
                            </p:childTnLst>
                          </p:cTn>
                        </p:par>
                        <p:par>
                          <p:cTn id="71" fill="hold">
                            <p:stCondLst>
                              <p:cond delay="9000"/>
                            </p:stCondLst>
                            <p:childTnLst>
                              <p:par>
                                <p:cTn id="72" presetID="11" presetClass="entr" presetSubtype="0" fill="hold" grpId="0" nodeType="afterEffect">
                                  <p:stCondLst>
                                    <p:cond delay="0"/>
                                  </p:stCondLst>
                                  <p:childTnLst>
                                    <p:set>
                                      <p:cBhvr>
                                        <p:cTn id="73" dur="1000">
                                          <p:stCondLst>
                                            <p:cond delay="0"/>
                                          </p:stCondLst>
                                        </p:cTn>
                                        <p:tgtEl>
                                          <p:spTgt spid="24"/>
                                        </p:tgtEl>
                                        <p:attrNameLst>
                                          <p:attrName>style.visibility</p:attrName>
                                        </p:attrNameLst>
                                      </p:cBhvr>
                                      <p:to>
                                        <p:strVal val="visible"/>
                                      </p:to>
                                    </p:set>
                                  </p:childTnLst>
                                </p:cTn>
                              </p:par>
                            </p:childTnLst>
                          </p:cTn>
                        </p:par>
                        <p:par>
                          <p:cTn id="74" fill="hold">
                            <p:stCondLst>
                              <p:cond delay="10000"/>
                            </p:stCondLst>
                            <p:childTnLst>
                              <p:par>
                                <p:cTn id="75" presetID="11" presetClass="entr" presetSubtype="0" fill="hold" grpId="0" nodeType="afterEffect">
                                  <p:stCondLst>
                                    <p:cond delay="0"/>
                                  </p:stCondLst>
                                  <p:childTnLst>
                                    <p:set>
                                      <p:cBhvr>
                                        <p:cTn id="76" dur="1000">
                                          <p:stCondLst>
                                            <p:cond delay="0"/>
                                          </p:stCondLst>
                                        </p:cTn>
                                        <p:tgtEl>
                                          <p:spTgt spid="25"/>
                                        </p:tgtEl>
                                        <p:attrNameLst>
                                          <p:attrName>style.visibility</p:attrName>
                                        </p:attrNameLst>
                                      </p:cBhvr>
                                      <p:to>
                                        <p:strVal val="visible"/>
                                      </p:to>
                                    </p:set>
                                  </p:childTnLst>
                                </p:cTn>
                              </p:par>
                            </p:childTnLst>
                          </p:cTn>
                        </p:par>
                      </p:childTnLst>
                    </p:cTn>
                  </p:par>
                </p:childTnLst>
              </p:cTn>
              <p:nextCondLst>
                <p:cond evt="onClick" delay="0">
                  <p:tgtEl>
                    <p:spTgt spid="26"/>
                  </p:tgtEl>
                </p:cond>
              </p:nextCondLst>
            </p:seq>
          </p:childTnLst>
        </p:cTn>
      </p:par>
    </p:tnLst>
    <p:bldLst>
      <p:bldP spid="10" grpId="0" bldLvl="0" animBg="1"/>
      <p:bldP spid="10" grpId="1" bldLvl="0" animBg="1"/>
      <p:bldP spid="11" grpId="0" bldLvl="0" animBg="1"/>
      <p:bldP spid="11" grpId="1" bldLvl="0" animBg="1"/>
      <p:bldP spid="12" grpId="0" bldLvl="0" animBg="1"/>
      <p:bldP spid="12" grpId="1" bldLvl="0" animBg="1"/>
      <p:bldP spid="13" grpId="0" bldLvl="0" animBg="1"/>
      <p:bldP spid="13" grpId="1" bldLvl="0" animBg="1"/>
      <p:bldP spid="15" grpId="0" bldLvl="0" animBg="1"/>
      <p:bldP spid="16" grpId="0" bldLvl="0" animBg="1"/>
      <p:bldP spid="17" grpId="0" bldLvl="0" animBg="1"/>
      <p:bldP spid="18" grpId="0" bldLvl="0" animBg="1"/>
      <p:bldP spid="19" grpId="0" bldLvl="0" animBg="1"/>
      <p:bldP spid="20" grpId="0" bldLvl="0" animBg="1"/>
      <p:bldP spid="21" grpId="0" bldLvl="0" animBg="1"/>
      <p:bldP spid="22" grpId="0" bldLvl="0" animBg="1"/>
      <p:bldP spid="23" grpId="0" bldLvl="0" animBg="1"/>
      <p:bldP spid="24" grpId="0" bldLvl="0" animBg="1"/>
      <p:bldP spid="25" grpId="0" bldLvl="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1">
            <a:extLst>
              <a:ext uri="{28A0092B-C50C-407E-A947-70E740481C1C}">
                <a14:useLocalDpi xmlns:a14="http://schemas.microsoft.com/office/drawing/2010/main" val="0"/>
              </a:ext>
            </a:extLst>
          </a:blip>
          <a:srcRect b="24227"/>
          <a:stretch>
            <a:fillRect/>
          </a:stretch>
        </p:blipFill>
        <p:spPr>
          <a:xfrm>
            <a:off x="2141339" y="2492298"/>
            <a:ext cx="13716000" cy="7794702"/>
          </a:xfrm>
          <a:prstGeom prst="rect">
            <a:avLst/>
          </a:prstGeom>
        </p:spPr>
      </p:pic>
      <p:sp>
        <p:nvSpPr>
          <p:cNvPr id="3" name="TextBox 2"/>
          <p:cNvSpPr txBox="1"/>
          <p:nvPr/>
        </p:nvSpPr>
        <p:spPr>
          <a:xfrm>
            <a:off x="2910772" y="3614861"/>
            <a:ext cx="12177132" cy="6451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C3.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Vua</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của</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nhà</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nước</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Văn</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Lang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tự</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xưng</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là</a:t>
            </a:r>
            <a:r>
              <a:rPr lang="en-US" sz="3600" b="1" dirty="0">
                <a:solidFill>
                  <a:prstClr val="white"/>
                </a:solidFill>
                <a:latin typeface="Times New Roman" panose="02020603050405020304" pitchFamily="18" charset="0"/>
                <a:cs typeface="Times New Roman" panose="02020603050405020304" pitchFamily="18" charset="0"/>
              </a:rPr>
              <a:t> </a:t>
            </a:r>
            <a:r>
              <a:rPr lang="en-US" sz="3600" b="1" dirty="0" err="1">
                <a:solidFill>
                  <a:prstClr val="white"/>
                </a:solidFill>
                <a:latin typeface="Times New Roman" panose="02020603050405020304" pitchFamily="18" charset="0"/>
                <a:cs typeface="Times New Roman" panose="02020603050405020304" pitchFamily="18" charset="0"/>
              </a:rPr>
              <a:t>gì</a:t>
            </a:r>
            <a:r>
              <a:rPr lang="en-US" sz="3600" b="1" dirty="0">
                <a:solidFill>
                  <a:prstClr val="white"/>
                </a:solidFill>
                <a:latin typeface="Times New Roman" panose="02020603050405020304" pitchFamily="18" charset="0"/>
                <a:cs typeface="Times New Roman" panose="02020603050405020304" pitchFamily="18" charset="0"/>
              </a:rPr>
              <a:t>?</a:t>
            </a:r>
            <a:endParaRPr kumimoji="0" lang="vi-VN"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0" name="A"/>
          <p:cNvSpPr/>
          <p:nvPr/>
        </p:nvSpPr>
        <p:spPr>
          <a:xfrm flipH="1">
            <a:off x="9348702" y="6054516"/>
            <a:ext cx="6204546" cy="1191990"/>
          </a:xfrm>
          <a:custGeom>
            <a:avLst/>
            <a:gdLst>
              <a:gd name="connsiteX0" fmla="*/ 0 w 4056063"/>
              <a:gd name="connsiteY0" fmla="*/ 0 h 794660"/>
              <a:gd name="connsiteX1" fmla="*/ 3642405 w 4056063"/>
              <a:gd name="connsiteY1" fmla="*/ 0 h 794660"/>
              <a:gd name="connsiteX2" fmla="*/ 3642405 w 4056063"/>
              <a:gd name="connsiteY2" fmla="*/ 1 h 794660"/>
              <a:gd name="connsiteX3" fmla="*/ 4056063 w 4056063"/>
              <a:gd name="connsiteY3" fmla="*/ 397331 h 794660"/>
              <a:gd name="connsiteX4" fmla="*/ 3642405 w 4056063"/>
              <a:gd name="connsiteY4" fmla="*/ 794660 h 794660"/>
              <a:gd name="connsiteX5" fmla="*/ 3642405 w 4056063"/>
              <a:gd name="connsiteY5" fmla="*/ 794658 h 794660"/>
              <a:gd name="connsiteX6" fmla="*/ 0 w 4056063"/>
              <a:gd name="connsiteY6" fmla="*/ 794658 h 7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6063" h="794660">
                <a:moveTo>
                  <a:pt x="0" y="0"/>
                </a:moveTo>
                <a:lnTo>
                  <a:pt x="3642405" y="0"/>
                </a:lnTo>
                <a:lnTo>
                  <a:pt x="3642405" y="1"/>
                </a:lnTo>
                <a:lnTo>
                  <a:pt x="4056063" y="397331"/>
                </a:lnTo>
                <a:lnTo>
                  <a:pt x="3642405" y="794660"/>
                </a:lnTo>
                <a:lnTo>
                  <a:pt x="3642405" y="794658"/>
                </a:lnTo>
                <a:lnTo>
                  <a:pt x="0" y="794658"/>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700" b="0" i="0" u="none" strike="noStrike" kern="1200" cap="none" spc="0" normalizeH="0" baseline="0" noProof="0" dirty="0" err="1">
                <a:ln>
                  <a:noFill/>
                </a:ln>
                <a:solidFill>
                  <a:prstClr val="white"/>
                </a:solidFill>
                <a:effectLst/>
                <a:uLnTx/>
                <a:uFillTx/>
                <a:latin typeface="Calibri" panose="020F0502020204030204"/>
                <a:ea typeface="+mn-ea"/>
                <a:cs typeface="+mn-cs"/>
              </a:rPr>
              <a:t>Hùng</a:t>
            </a:r>
            <a:r>
              <a:rPr kumimoji="0" lang="en-US" sz="2700" b="0" i="0" u="none" strike="noStrike" kern="1200" cap="none" spc="0" normalizeH="0" noProof="0" dirty="0">
                <a:ln>
                  <a:noFill/>
                </a:ln>
                <a:solidFill>
                  <a:prstClr val="white"/>
                </a:solidFill>
                <a:effectLst/>
                <a:uLnTx/>
                <a:uFillTx/>
                <a:latin typeface="Calibri" panose="020F0502020204030204"/>
                <a:ea typeface="+mn-ea"/>
                <a:cs typeface="+mn-cs"/>
              </a:rPr>
              <a:t> </a:t>
            </a:r>
            <a:r>
              <a:rPr kumimoji="0" lang="en-US" sz="2700" b="0" i="0" u="none" strike="noStrike" kern="1200" cap="none" spc="0" normalizeH="0" noProof="0" dirty="0" err="1">
                <a:ln>
                  <a:noFill/>
                </a:ln>
                <a:solidFill>
                  <a:prstClr val="white"/>
                </a:solidFill>
                <a:effectLst/>
                <a:uLnTx/>
                <a:uFillTx/>
                <a:latin typeface="Calibri" panose="020F0502020204030204"/>
                <a:ea typeface="+mn-ea"/>
                <a:cs typeface="+mn-cs"/>
              </a:rPr>
              <a:t>Vương</a:t>
            </a:r>
            <a:endParaRPr kumimoji="0" lang="vi-VN" sz="27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1" name="B"/>
          <p:cNvSpPr/>
          <p:nvPr/>
        </p:nvSpPr>
        <p:spPr>
          <a:xfrm>
            <a:off x="2565885" y="7869575"/>
            <a:ext cx="6204546" cy="1191990"/>
          </a:xfrm>
          <a:custGeom>
            <a:avLst/>
            <a:gdLst>
              <a:gd name="connsiteX0" fmla="*/ 0 w 4056063"/>
              <a:gd name="connsiteY0" fmla="*/ 0 h 794660"/>
              <a:gd name="connsiteX1" fmla="*/ 3642405 w 4056063"/>
              <a:gd name="connsiteY1" fmla="*/ 0 h 794660"/>
              <a:gd name="connsiteX2" fmla="*/ 3642405 w 4056063"/>
              <a:gd name="connsiteY2" fmla="*/ 1 h 794660"/>
              <a:gd name="connsiteX3" fmla="*/ 4056063 w 4056063"/>
              <a:gd name="connsiteY3" fmla="*/ 397331 h 794660"/>
              <a:gd name="connsiteX4" fmla="*/ 3642405 w 4056063"/>
              <a:gd name="connsiteY4" fmla="*/ 794660 h 794660"/>
              <a:gd name="connsiteX5" fmla="*/ 3642405 w 4056063"/>
              <a:gd name="connsiteY5" fmla="*/ 794658 h 794660"/>
              <a:gd name="connsiteX6" fmla="*/ 0 w 4056063"/>
              <a:gd name="connsiteY6" fmla="*/ 794658 h 7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6063" h="794660">
                <a:moveTo>
                  <a:pt x="0" y="0"/>
                </a:moveTo>
                <a:lnTo>
                  <a:pt x="3642405" y="0"/>
                </a:lnTo>
                <a:lnTo>
                  <a:pt x="3642405" y="1"/>
                </a:lnTo>
                <a:lnTo>
                  <a:pt x="4056063" y="397331"/>
                </a:lnTo>
                <a:lnTo>
                  <a:pt x="3642405" y="794660"/>
                </a:lnTo>
                <a:lnTo>
                  <a:pt x="3642405" y="794658"/>
                </a:lnTo>
                <a:lnTo>
                  <a:pt x="0" y="794658"/>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700" b="0" i="0" u="none" strike="noStrike" kern="1200" cap="none" spc="0" normalizeH="0" baseline="0" noProof="0" dirty="0" err="1">
                <a:ln>
                  <a:noFill/>
                </a:ln>
                <a:solidFill>
                  <a:prstClr val="white"/>
                </a:solidFill>
                <a:effectLst/>
                <a:uLnTx/>
                <a:uFillTx/>
                <a:latin typeface="Calibri" panose="020F0502020204030204"/>
                <a:ea typeface="+mn-ea"/>
                <a:cs typeface="+mn-cs"/>
              </a:rPr>
              <a:t>Kinh</a:t>
            </a:r>
            <a:r>
              <a:rPr kumimoji="0" lang="en-US" sz="27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2700" b="0" i="0" u="none" strike="noStrike" kern="1200" cap="none" spc="0" normalizeH="0" baseline="0" noProof="0" dirty="0" err="1">
                <a:ln>
                  <a:noFill/>
                </a:ln>
                <a:solidFill>
                  <a:prstClr val="white"/>
                </a:solidFill>
                <a:effectLst/>
                <a:uLnTx/>
                <a:uFillTx/>
                <a:latin typeface="Calibri" panose="020F0502020204030204"/>
                <a:ea typeface="+mn-ea"/>
                <a:cs typeface="+mn-cs"/>
              </a:rPr>
              <a:t>Dương</a:t>
            </a:r>
            <a:r>
              <a:rPr kumimoji="0" lang="en-US" sz="2700" b="0" i="0" u="none" strike="noStrike" kern="1200" cap="none" spc="0" normalizeH="0" noProof="0" dirty="0">
                <a:ln>
                  <a:noFill/>
                </a:ln>
                <a:solidFill>
                  <a:prstClr val="white"/>
                </a:solidFill>
                <a:effectLst/>
                <a:uLnTx/>
                <a:uFillTx/>
                <a:latin typeface="Calibri" panose="020F0502020204030204"/>
                <a:ea typeface="+mn-ea"/>
                <a:cs typeface="+mn-cs"/>
              </a:rPr>
              <a:t> </a:t>
            </a:r>
            <a:r>
              <a:rPr kumimoji="0" lang="en-US" sz="2700" b="0" i="0" u="none" strike="noStrike" kern="1200" cap="none" spc="0" normalizeH="0" noProof="0" dirty="0" err="1">
                <a:ln>
                  <a:noFill/>
                </a:ln>
                <a:solidFill>
                  <a:prstClr val="white"/>
                </a:solidFill>
                <a:effectLst/>
                <a:uLnTx/>
                <a:uFillTx/>
                <a:latin typeface="Calibri" panose="020F0502020204030204"/>
                <a:ea typeface="+mn-ea"/>
                <a:cs typeface="+mn-cs"/>
              </a:rPr>
              <a:t>Vương</a:t>
            </a:r>
            <a:endParaRPr kumimoji="0" lang="vi-VN" sz="27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2" name="C"/>
          <p:cNvSpPr/>
          <p:nvPr/>
        </p:nvSpPr>
        <p:spPr>
          <a:xfrm>
            <a:off x="2572038" y="6054516"/>
            <a:ext cx="6198393" cy="1191990"/>
          </a:xfrm>
          <a:custGeom>
            <a:avLst/>
            <a:gdLst>
              <a:gd name="connsiteX0" fmla="*/ 0 w 4056063"/>
              <a:gd name="connsiteY0" fmla="*/ 0 h 794660"/>
              <a:gd name="connsiteX1" fmla="*/ 3642405 w 4056063"/>
              <a:gd name="connsiteY1" fmla="*/ 0 h 794660"/>
              <a:gd name="connsiteX2" fmla="*/ 3642405 w 4056063"/>
              <a:gd name="connsiteY2" fmla="*/ 1 h 794660"/>
              <a:gd name="connsiteX3" fmla="*/ 4056063 w 4056063"/>
              <a:gd name="connsiteY3" fmla="*/ 397331 h 794660"/>
              <a:gd name="connsiteX4" fmla="*/ 3642405 w 4056063"/>
              <a:gd name="connsiteY4" fmla="*/ 794660 h 794660"/>
              <a:gd name="connsiteX5" fmla="*/ 3642405 w 4056063"/>
              <a:gd name="connsiteY5" fmla="*/ 794658 h 794660"/>
              <a:gd name="connsiteX6" fmla="*/ 0 w 4056063"/>
              <a:gd name="connsiteY6" fmla="*/ 794658 h 7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6063" h="794660">
                <a:moveTo>
                  <a:pt x="0" y="0"/>
                </a:moveTo>
                <a:lnTo>
                  <a:pt x="3642405" y="0"/>
                </a:lnTo>
                <a:lnTo>
                  <a:pt x="3642405" y="1"/>
                </a:lnTo>
                <a:lnTo>
                  <a:pt x="4056063" y="397331"/>
                </a:lnTo>
                <a:lnTo>
                  <a:pt x="3642405" y="794660"/>
                </a:lnTo>
                <a:lnTo>
                  <a:pt x="3642405" y="794658"/>
                </a:lnTo>
                <a:lnTo>
                  <a:pt x="0" y="794658"/>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700" b="0" i="0" u="none" strike="noStrike" kern="1200" cap="none" spc="0" normalizeH="0" baseline="0" noProof="0" dirty="0">
                <a:ln>
                  <a:noFill/>
                </a:ln>
                <a:solidFill>
                  <a:prstClr val="white"/>
                </a:solidFill>
                <a:effectLst/>
                <a:uLnTx/>
                <a:uFillTx/>
                <a:latin typeface="Calibri" panose="020F0502020204030204"/>
                <a:ea typeface="+mn-ea"/>
                <a:cs typeface="+mn-cs"/>
              </a:rPr>
              <a:t>An </a:t>
            </a:r>
            <a:r>
              <a:rPr kumimoji="0" lang="en-US" sz="2700" b="0" i="0" u="none" strike="noStrike" kern="1200" cap="none" spc="0" normalizeH="0" baseline="0" noProof="0" dirty="0" err="1">
                <a:ln>
                  <a:noFill/>
                </a:ln>
                <a:solidFill>
                  <a:prstClr val="white"/>
                </a:solidFill>
                <a:effectLst/>
                <a:uLnTx/>
                <a:uFillTx/>
                <a:latin typeface="Calibri" panose="020F0502020204030204"/>
                <a:ea typeface="+mn-ea"/>
                <a:cs typeface="+mn-cs"/>
              </a:rPr>
              <a:t>Dương</a:t>
            </a:r>
            <a:r>
              <a:rPr kumimoji="0" lang="en-US" sz="2700" b="0" i="0" u="none" strike="noStrike" kern="1200" cap="none" spc="0" normalizeH="0" noProof="0" dirty="0">
                <a:ln>
                  <a:noFill/>
                </a:ln>
                <a:solidFill>
                  <a:prstClr val="white"/>
                </a:solidFill>
                <a:effectLst/>
                <a:uLnTx/>
                <a:uFillTx/>
                <a:latin typeface="Calibri" panose="020F0502020204030204"/>
                <a:ea typeface="+mn-ea"/>
                <a:cs typeface="+mn-cs"/>
              </a:rPr>
              <a:t> </a:t>
            </a:r>
            <a:r>
              <a:rPr kumimoji="0" lang="en-US" sz="2700" b="0" i="0" u="none" strike="noStrike" kern="1200" cap="none" spc="0" normalizeH="0" noProof="0" dirty="0" err="1">
                <a:ln>
                  <a:noFill/>
                </a:ln>
                <a:solidFill>
                  <a:prstClr val="white"/>
                </a:solidFill>
                <a:effectLst/>
                <a:uLnTx/>
                <a:uFillTx/>
                <a:latin typeface="Calibri" panose="020F0502020204030204"/>
                <a:ea typeface="+mn-ea"/>
                <a:cs typeface="+mn-cs"/>
              </a:rPr>
              <a:t>Vương</a:t>
            </a:r>
            <a:endParaRPr kumimoji="0" lang="vi-VN" sz="27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3" name="D"/>
          <p:cNvSpPr/>
          <p:nvPr/>
        </p:nvSpPr>
        <p:spPr>
          <a:xfrm flipH="1">
            <a:off x="9348702" y="7869575"/>
            <a:ext cx="6198393" cy="1191990"/>
          </a:xfrm>
          <a:custGeom>
            <a:avLst/>
            <a:gdLst>
              <a:gd name="connsiteX0" fmla="*/ 0 w 4056063"/>
              <a:gd name="connsiteY0" fmla="*/ 0 h 794660"/>
              <a:gd name="connsiteX1" fmla="*/ 3642405 w 4056063"/>
              <a:gd name="connsiteY1" fmla="*/ 0 h 794660"/>
              <a:gd name="connsiteX2" fmla="*/ 3642405 w 4056063"/>
              <a:gd name="connsiteY2" fmla="*/ 1 h 794660"/>
              <a:gd name="connsiteX3" fmla="*/ 4056063 w 4056063"/>
              <a:gd name="connsiteY3" fmla="*/ 397331 h 794660"/>
              <a:gd name="connsiteX4" fmla="*/ 3642405 w 4056063"/>
              <a:gd name="connsiteY4" fmla="*/ 794660 h 794660"/>
              <a:gd name="connsiteX5" fmla="*/ 3642405 w 4056063"/>
              <a:gd name="connsiteY5" fmla="*/ 794658 h 794660"/>
              <a:gd name="connsiteX6" fmla="*/ 0 w 4056063"/>
              <a:gd name="connsiteY6" fmla="*/ 794658 h 7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6063" h="794660">
                <a:moveTo>
                  <a:pt x="0" y="0"/>
                </a:moveTo>
                <a:lnTo>
                  <a:pt x="3642405" y="0"/>
                </a:lnTo>
                <a:lnTo>
                  <a:pt x="3642405" y="1"/>
                </a:lnTo>
                <a:lnTo>
                  <a:pt x="4056063" y="397331"/>
                </a:lnTo>
                <a:lnTo>
                  <a:pt x="3642405" y="794660"/>
                </a:lnTo>
                <a:lnTo>
                  <a:pt x="3642405" y="794658"/>
                </a:lnTo>
                <a:lnTo>
                  <a:pt x="0" y="794658"/>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700" b="0" i="0" u="none" strike="noStrike" kern="1200" cap="none" spc="0" normalizeH="0" baseline="0" noProof="0" dirty="0" err="1">
                <a:ln>
                  <a:noFill/>
                </a:ln>
                <a:solidFill>
                  <a:prstClr val="white"/>
                </a:solidFill>
                <a:effectLst/>
                <a:uLnTx/>
                <a:uFillTx/>
                <a:latin typeface="Calibri" panose="020F0502020204030204"/>
                <a:ea typeface="+mn-ea"/>
                <a:cs typeface="+mn-cs"/>
              </a:rPr>
              <a:t>Phù</a:t>
            </a:r>
            <a:r>
              <a:rPr kumimoji="0" lang="en-US" sz="2700" b="0" i="0" u="none" strike="noStrike" kern="1200" cap="none" spc="0" normalizeH="0" noProof="0" dirty="0">
                <a:ln>
                  <a:noFill/>
                </a:ln>
                <a:solidFill>
                  <a:prstClr val="white"/>
                </a:solidFill>
                <a:effectLst/>
                <a:uLnTx/>
                <a:uFillTx/>
                <a:latin typeface="Calibri" panose="020F0502020204030204"/>
                <a:ea typeface="+mn-ea"/>
                <a:cs typeface="+mn-cs"/>
              </a:rPr>
              <a:t> </a:t>
            </a:r>
            <a:r>
              <a:rPr kumimoji="0" lang="en-US" sz="2700" b="0" i="0" u="none" strike="noStrike" kern="1200" cap="none" spc="0" normalizeH="0" noProof="0" dirty="0" err="1">
                <a:ln>
                  <a:noFill/>
                </a:ln>
                <a:solidFill>
                  <a:prstClr val="white"/>
                </a:solidFill>
                <a:effectLst/>
                <a:uLnTx/>
                <a:uFillTx/>
                <a:latin typeface="Calibri" panose="020F0502020204030204"/>
                <a:ea typeface="+mn-ea"/>
                <a:cs typeface="+mn-cs"/>
              </a:rPr>
              <a:t>Đổng</a:t>
            </a:r>
            <a:r>
              <a:rPr kumimoji="0" lang="en-US" sz="2700" b="0" i="0" u="none" strike="noStrike" kern="1200" cap="none" spc="0" normalizeH="0" noProof="0" dirty="0">
                <a:ln>
                  <a:noFill/>
                </a:ln>
                <a:solidFill>
                  <a:prstClr val="white"/>
                </a:solidFill>
                <a:effectLst/>
                <a:uLnTx/>
                <a:uFillTx/>
                <a:latin typeface="Calibri" panose="020F0502020204030204"/>
                <a:ea typeface="+mn-ea"/>
                <a:cs typeface="+mn-cs"/>
              </a:rPr>
              <a:t> </a:t>
            </a:r>
            <a:r>
              <a:rPr kumimoji="0" lang="en-US" sz="2700" b="0" i="0" u="none" strike="noStrike" kern="1200" cap="none" spc="0" normalizeH="0" noProof="0" dirty="0" err="1">
                <a:ln>
                  <a:noFill/>
                </a:ln>
                <a:solidFill>
                  <a:prstClr val="white"/>
                </a:solidFill>
                <a:effectLst/>
                <a:uLnTx/>
                <a:uFillTx/>
                <a:latin typeface="Calibri" panose="020F0502020204030204"/>
                <a:ea typeface="+mn-ea"/>
                <a:cs typeface="+mn-cs"/>
              </a:rPr>
              <a:t>Thiên</a:t>
            </a:r>
            <a:r>
              <a:rPr kumimoji="0" lang="en-US" sz="2700" b="0" i="0" u="none" strike="noStrike" kern="1200" cap="none" spc="0" normalizeH="0" noProof="0" dirty="0">
                <a:ln>
                  <a:noFill/>
                </a:ln>
                <a:solidFill>
                  <a:prstClr val="white"/>
                </a:solidFill>
                <a:effectLst/>
                <a:uLnTx/>
                <a:uFillTx/>
                <a:latin typeface="Calibri" panose="020F0502020204030204"/>
                <a:ea typeface="+mn-ea"/>
                <a:cs typeface="+mn-cs"/>
              </a:rPr>
              <a:t> </a:t>
            </a:r>
            <a:r>
              <a:rPr kumimoji="0" lang="en-US" sz="2700" b="0" i="0" u="none" strike="noStrike" kern="1200" cap="none" spc="0" normalizeH="0" noProof="0" dirty="0" err="1">
                <a:ln>
                  <a:noFill/>
                </a:ln>
                <a:solidFill>
                  <a:prstClr val="white"/>
                </a:solidFill>
                <a:effectLst/>
                <a:uLnTx/>
                <a:uFillTx/>
                <a:latin typeface="Calibri" panose="020F0502020204030204"/>
                <a:ea typeface="+mn-ea"/>
                <a:cs typeface="+mn-cs"/>
              </a:rPr>
              <a:t>Vương</a:t>
            </a:r>
            <a:endParaRPr kumimoji="0" lang="vi-VN" sz="27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5" name="Rounded Rectangle 23"/>
          <p:cNvSpPr/>
          <p:nvPr/>
        </p:nvSpPr>
        <p:spPr>
          <a:xfrm>
            <a:off x="8084634" y="1316610"/>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1" i="0" u="none" strike="noStrike" kern="1200" cap="none" spc="0" normalizeH="0" baseline="0" noProof="0">
                <a:ln>
                  <a:noFill/>
                </a:ln>
                <a:solidFill>
                  <a:srgbClr val="002060"/>
                </a:solidFill>
                <a:effectLst/>
                <a:uLnTx/>
                <a:uFillTx/>
                <a:latin typeface="Calibri" panose="020F0502020204030204"/>
                <a:ea typeface="+mn-ea"/>
                <a:cs typeface="+mn-cs"/>
              </a:rPr>
              <a:t>00:10</a:t>
            </a:r>
            <a:endParaRPr kumimoji="0" lang="en-US" sz="4800" b="1"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16" name="Rounded Rectangle 24"/>
          <p:cNvSpPr/>
          <p:nvPr/>
        </p:nvSpPr>
        <p:spPr>
          <a:xfrm>
            <a:off x="8084634" y="1338788"/>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1" i="0" u="none" strike="noStrike" kern="1200" cap="none" spc="0" normalizeH="0" baseline="0" noProof="0">
                <a:ln>
                  <a:noFill/>
                </a:ln>
                <a:solidFill>
                  <a:srgbClr val="002060"/>
                </a:solidFill>
                <a:effectLst/>
                <a:uLnTx/>
                <a:uFillTx/>
                <a:latin typeface="Calibri" panose="020F0502020204030204"/>
                <a:ea typeface="+mn-ea"/>
                <a:cs typeface="+mn-cs"/>
              </a:rPr>
              <a:t>00:09</a:t>
            </a:r>
            <a:endParaRPr kumimoji="0" lang="en-US" sz="4800" b="1"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17" name="Rounded Rectangle 25"/>
          <p:cNvSpPr/>
          <p:nvPr/>
        </p:nvSpPr>
        <p:spPr>
          <a:xfrm>
            <a:off x="8084634" y="1353732"/>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1" i="0" u="none" strike="noStrike" kern="1200" cap="none" spc="0" normalizeH="0" baseline="0" noProof="0">
                <a:ln>
                  <a:noFill/>
                </a:ln>
                <a:solidFill>
                  <a:srgbClr val="002060"/>
                </a:solidFill>
                <a:effectLst/>
                <a:uLnTx/>
                <a:uFillTx/>
                <a:latin typeface="Calibri" panose="020F0502020204030204"/>
                <a:ea typeface="+mn-ea"/>
                <a:cs typeface="+mn-cs"/>
              </a:rPr>
              <a:t>00:08</a:t>
            </a:r>
            <a:endParaRPr kumimoji="0" lang="en-US" sz="4800" b="1"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18" name="Rounded Rectangle 26"/>
          <p:cNvSpPr/>
          <p:nvPr/>
        </p:nvSpPr>
        <p:spPr>
          <a:xfrm>
            <a:off x="8084634" y="1339266"/>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1" i="0" u="none" strike="noStrike" kern="1200" cap="none" spc="0" normalizeH="0" baseline="0" noProof="0">
                <a:ln>
                  <a:noFill/>
                </a:ln>
                <a:solidFill>
                  <a:srgbClr val="002060"/>
                </a:solidFill>
                <a:effectLst/>
                <a:uLnTx/>
                <a:uFillTx/>
                <a:latin typeface="Calibri" panose="020F0502020204030204"/>
                <a:ea typeface="+mn-ea"/>
                <a:cs typeface="+mn-cs"/>
              </a:rPr>
              <a:t>00:07</a:t>
            </a:r>
            <a:endParaRPr kumimoji="0" lang="en-US" sz="4800" b="1"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19" name="Rounded Rectangle 27"/>
          <p:cNvSpPr/>
          <p:nvPr/>
        </p:nvSpPr>
        <p:spPr>
          <a:xfrm>
            <a:off x="8084634" y="1316610"/>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1" i="0" u="none" strike="noStrike" kern="1200" cap="none" spc="0" normalizeH="0" baseline="0" noProof="0">
                <a:ln>
                  <a:noFill/>
                </a:ln>
                <a:solidFill>
                  <a:srgbClr val="002060"/>
                </a:solidFill>
                <a:effectLst/>
                <a:uLnTx/>
                <a:uFillTx/>
                <a:latin typeface="Calibri" panose="020F0502020204030204"/>
                <a:ea typeface="+mn-ea"/>
                <a:cs typeface="+mn-cs"/>
              </a:rPr>
              <a:t>00:06</a:t>
            </a:r>
            <a:endParaRPr kumimoji="0" lang="en-US" sz="4800" b="1"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0" name="Rounded Rectangle 28"/>
          <p:cNvSpPr/>
          <p:nvPr/>
        </p:nvSpPr>
        <p:spPr>
          <a:xfrm>
            <a:off x="8084634" y="1346499"/>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1" i="0" u="none" strike="noStrike" kern="1200" cap="none" spc="0" normalizeH="0" baseline="0" noProof="0">
                <a:ln>
                  <a:noFill/>
                </a:ln>
                <a:solidFill>
                  <a:srgbClr val="002060"/>
                </a:solidFill>
                <a:effectLst/>
                <a:uLnTx/>
                <a:uFillTx/>
                <a:latin typeface="Calibri" panose="020F0502020204030204"/>
                <a:ea typeface="+mn-ea"/>
                <a:cs typeface="+mn-cs"/>
              </a:rPr>
              <a:t>00:05</a:t>
            </a:r>
            <a:endParaRPr kumimoji="0" lang="en-US" sz="4800" b="1"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1" name="Rounded Rectangle 29"/>
          <p:cNvSpPr/>
          <p:nvPr/>
        </p:nvSpPr>
        <p:spPr>
          <a:xfrm>
            <a:off x="8084634" y="1331555"/>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1" i="0" u="none" strike="noStrike" kern="1200" cap="none" spc="0" normalizeH="0" baseline="0" noProof="0">
                <a:ln>
                  <a:noFill/>
                </a:ln>
                <a:solidFill>
                  <a:srgbClr val="002060"/>
                </a:solidFill>
                <a:effectLst/>
                <a:uLnTx/>
                <a:uFillTx/>
                <a:latin typeface="Calibri" panose="020F0502020204030204"/>
                <a:ea typeface="+mn-ea"/>
                <a:cs typeface="+mn-cs"/>
              </a:rPr>
              <a:t>00:04</a:t>
            </a:r>
            <a:endParaRPr kumimoji="0" lang="en-US" sz="4800" b="1"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2" name="Rounded Rectangle 30"/>
          <p:cNvSpPr/>
          <p:nvPr/>
        </p:nvSpPr>
        <p:spPr>
          <a:xfrm>
            <a:off x="8084634" y="1316610"/>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1" i="0" u="none" strike="noStrike" kern="1200" cap="none" spc="0" normalizeH="0" baseline="0" noProof="0">
                <a:ln>
                  <a:noFill/>
                </a:ln>
                <a:solidFill>
                  <a:srgbClr val="002060"/>
                </a:solidFill>
                <a:effectLst/>
                <a:uLnTx/>
                <a:uFillTx/>
                <a:latin typeface="Calibri" panose="020F0502020204030204"/>
                <a:ea typeface="+mn-ea"/>
                <a:cs typeface="+mn-cs"/>
              </a:rPr>
              <a:t>00:03</a:t>
            </a:r>
            <a:endParaRPr kumimoji="0" lang="en-US" sz="4800" b="1"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3" name="Rounded Rectangle 31"/>
          <p:cNvSpPr/>
          <p:nvPr/>
        </p:nvSpPr>
        <p:spPr>
          <a:xfrm>
            <a:off x="8084634" y="1286721"/>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1" i="0" u="none" strike="noStrike" kern="1200" cap="none" spc="0" normalizeH="0" baseline="0" noProof="0">
                <a:ln>
                  <a:noFill/>
                </a:ln>
                <a:solidFill>
                  <a:srgbClr val="002060"/>
                </a:solidFill>
                <a:effectLst/>
                <a:uLnTx/>
                <a:uFillTx/>
                <a:latin typeface="Calibri" panose="020F0502020204030204"/>
                <a:ea typeface="+mn-ea"/>
                <a:cs typeface="+mn-cs"/>
              </a:rPr>
              <a:t>00:02</a:t>
            </a:r>
            <a:endParaRPr kumimoji="0" lang="en-US" sz="4800" b="1"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4" name="Rounded Rectangle 32"/>
          <p:cNvSpPr/>
          <p:nvPr/>
        </p:nvSpPr>
        <p:spPr>
          <a:xfrm>
            <a:off x="8084634" y="1301666"/>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1" i="0" u="none" strike="noStrike" kern="1200" cap="none" spc="0" normalizeH="0" baseline="0" noProof="0">
                <a:ln>
                  <a:noFill/>
                </a:ln>
                <a:solidFill>
                  <a:srgbClr val="002060"/>
                </a:solidFill>
                <a:effectLst/>
                <a:uLnTx/>
                <a:uFillTx/>
                <a:latin typeface="Calibri" panose="020F0502020204030204"/>
                <a:ea typeface="+mn-ea"/>
                <a:cs typeface="+mn-cs"/>
              </a:rPr>
              <a:t>00:01</a:t>
            </a:r>
            <a:endParaRPr kumimoji="0" lang="en-US" sz="4800" b="1"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5" name="Rounded Rectangle 33"/>
          <p:cNvSpPr/>
          <p:nvPr/>
        </p:nvSpPr>
        <p:spPr>
          <a:xfrm>
            <a:off x="8084634" y="1301666"/>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1" i="0" u="none" strike="noStrike" kern="1200" cap="none" spc="0" normalizeH="0" baseline="0" noProof="0">
                <a:ln>
                  <a:noFill/>
                </a:ln>
                <a:solidFill>
                  <a:srgbClr val="002060"/>
                </a:solidFill>
                <a:effectLst/>
                <a:uLnTx/>
                <a:uFillTx/>
                <a:latin typeface="Calibri" panose="020F0502020204030204"/>
                <a:ea typeface="+mn-ea"/>
                <a:cs typeface="+mn-cs"/>
              </a:rPr>
              <a:t>00:00</a:t>
            </a:r>
            <a:endParaRPr kumimoji="0" lang="en-US" sz="4800" b="1" i="0" u="none" strike="noStrike" kern="1200" cap="none" spc="0" normalizeH="0" baseline="0" noProof="0">
              <a:ln>
                <a:noFill/>
              </a:ln>
              <a:solidFill>
                <a:srgbClr val="002060"/>
              </a:solidFill>
              <a:effectLst/>
              <a:uLnTx/>
              <a:uFillTx/>
              <a:latin typeface="Calibri" panose="020F0502020204030204"/>
              <a:ea typeface="+mn-ea"/>
              <a:cs typeface="+mn-cs"/>
            </a:endParaRPr>
          </a:p>
        </p:txBody>
      </p:sp>
      <p:pic>
        <p:nvPicPr>
          <p:cNvPr id="26" name="Picture 2" descr="Káº¿t quáº£ hÃ¬nh áº£nh cho icon Äá»ng há»"/>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713534" y="1260206"/>
            <a:ext cx="1171311" cy="118586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oa Đào png tách nề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372647"/>
            <a:ext cx="7315200" cy="598646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hlinkClick r:id="rId5" action="ppaction://hlinksldjump"/>
          </p:cNvPr>
          <p:cNvPicPr>
            <a:picLocks noChangeAspect="1"/>
          </p:cNvPicPr>
          <p:nvPr/>
        </p:nvPicPr>
        <p:blipFill>
          <a:blip r:embed="rId6">
            <a:extLst>
              <a:ext uri="{BEBA8EAE-BF5A-486C-A8C5-ECC9F3942E4B}">
                <a14:imgProps xmlns:a14="http://schemas.microsoft.com/office/drawing/2010/main">
                  <a14:imgLayer r:embed="rId7">
                    <a14:imgEffect>
                      <a14:backgroundRemoval t="2346" b="100000" l="0" r="95690"/>
                    </a14:imgEffect>
                  </a14:imgLayer>
                </a14:imgProps>
              </a:ext>
            </a:extLst>
          </a:blip>
          <a:stretch>
            <a:fillRect/>
          </a:stretch>
        </p:blipFill>
        <p:spPr>
          <a:xfrm>
            <a:off x="14167119" y="1213332"/>
            <a:ext cx="1080468" cy="1058735"/>
          </a:xfrm>
          <a:prstGeom prst="rect">
            <a:avLst/>
          </a:prstGeom>
        </p:spPr>
      </p:pic>
      <p:sp>
        <p:nvSpPr>
          <p:cNvPr id="28" name="Frame 27"/>
          <p:cNvSpPr/>
          <p:nvPr/>
        </p:nvSpPr>
        <p:spPr>
          <a:xfrm>
            <a:off x="0" y="0"/>
            <a:ext cx="18288000" cy="10287000"/>
          </a:xfrm>
          <a:prstGeom prst="frame">
            <a:avLst>
              <a:gd name="adj1" fmla="val 1528"/>
            </a:avLst>
          </a:prstGeom>
          <a:blipFill>
            <a:blip r:embed="rId8"/>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after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1" nodeType="afterEffect">
                                  <p:stCondLst>
                                    <p:cond delay="0"/>
                                  </p:stCondLst>
                                  <p:childTnLst>
                                    <p:set>
                                      <p:cBhvr>
                                        <p:cTn id="9" dur="1" fill="hold">
                                          <p:stCondLst>
                                            <p:cond delay="0"/>
                                          </p:stCondLst>
                                        </p:cTn>
                                        <p:tgtEl>
                                          <p:spTgt spid="11"/>
                                        </p:tgtEl>
                                        <p:attrNameLst>
                                          <p:attrName>style.visibility</p:attrName>
                                        </p:attrNameLst>
                                      </p:cBhvr>
                                      <p:to>
                                        <p:strVal val="visible"/>
                                      </p:to>
                                    </p:set>
                                  </p:childTnLst>
                                  <p:subTnLst>
                                    <p:audio>
                                      <p:cMediaNode>
                                        <p:cTn display="0" masterRel="sameClick">
                                          <p:stCondLst>
                                            <p:cond evt="begin" delay="0">
                                              <p:tn val="8"/>
                                            </p:cond>
                                          </p:stCondLst>
                                          <p:endCondLst>
                                            <p:cond evt="onStopAudio" delay="0">
                                              <p:tgtEl>
                                                <p:sldTgt/>
                                              </p:tgtEl>
                                            </p:cond>
                                          </p:endCondLst>
                                        </p:cTn>
                                        <p:tgtEl>
                                          <p:sndTgt r:embed="rId9" name="bomb.wav"/>
                                        </p:tgtEl>
                                      </p:cMediaNode>
                                    </p:audio>
                                  </p:subTnLst>
                                </p:cTn>
                              </p:par>
                            </p:childTnLst>
                          </p:cTn>
                        </p:par>
                        <p:par>
                          <p:cTn id="10" fill="hold">
                            <p:stCondLst>
                              <p:cond delay="0"/>
                            </p:stCondLst>
                            <p:childTnLst>
                              <p:par>
                                <p:cTn id="11" presetID="1" presetClass="entr" presetSubtype="0" fill="hold" grpId="1" nodeType="afterEffect">
                                  <p:stCondLst>
                                    <p:cond delay="0"/>
                                  </p:stCondLst>
                                  <p:childTnLst>
                                    <p:set>
                                      <p:cBhvr>
                                        <p:cTn id="12" dur="1" fill="hold">
                                          <p:stCondLst>
                                            <p:cond delay="0"/>
                                          </p:stCondLst>
                                        </p:cTn>
                                        <p:tgtEl>
                                          <p:spTgt spid="12"/>
                                        </p:tgtEl>
                                        <p:attrNameLst>
                                          <p:attrName>style.visibility</p:attrName>
                                        </p:attrNameLst>
                                      </p:cBhvr>
                                      <p:to>
                                        <p:strVal val="visible"/>
                                      </p:to>
                                    </p:set>
                                  </p:childTnLst>
                                  <p:subTnLst>
                                    <p:audio>
                                      <p:cMediaNode>
                                        <p:cTn display="0" masterRel="sameClick">
                                          <p:stCondLst>
                                            <p:cond evt="begin" delay="0">
                                              <p:tn val="11"/>
                                            </p:cond>
                                          </p:stCondLst>
                                          <p:endCondLst>
                                            <p:cond evt="onStopAudio" delay="0">
                                              <p:tgtEl>
                                                <p:sldTgt/>
                                              </p:tgtEl>
                                            </p:cond>
                                          </p:endCondLst>
                                        </p:cTn>
                                        <p:tgtEl>
                                          <p:sndTgt r:embed="rId9" name="bomb.wav"/>
                                        </p:tgtEl>
                                      </p:cMediaNode>
                                    </p:audio>
                                  </p:subTnLst>
                                </p:cTn>
                              </p:par>
                            </p:childTnLst>
                          </p:cTn>
                        </p:par>
                        <p:par>
                          <p:cTn id="13" fill="hold">
                            <p:stCondLst>
                              <p:cond delay="0"/>
                            </p:stCondLst>
                            <p:childTnLst>
                              <p:par>
                                <p:cTn id="14" presetID="1" presetClass="entr" presetSubtype="0" fill="hold" grpId="1" nodeType="afterEffect">
                                  <p:stCondLst>
                                    <p:cond delay="0"/>
                                  </p:stCondLst>
                                  <p:childTnLst>
                                    <p:set>
                                      <p:cBhvr>
                                        <p:cTn id="15" dur="1" fill="hold">
                                          <p:stCondLst>
                                            <p:cond delay="0"/>
                                          </p:stCondLst>
                                        </p:cTn>
                                        <p:tgtEl>
                                          <p:spTgt spid="13"/>
                                        </p:tgtEl>
                                        <p:attrNameLst>
                                          <p:attrName>style.visibility</p:attrName>
                                        </p:attrNameLst>
                                      </p:cBhvr>
                                      <p:to>
                                        <p:strVal val="visible"/>
                                      </p:to>
                                    </p:set>
                                  </p:childTnLst>
                                  <p:subTnLst>
                                    <p:audio>
                                      <p:cMediaNode>
                                        <p:cTn display="0" masterRel="sameClick">
                                          <p:stCondLst>
                                            <p:cond evt="begin" delay="0">
                                              <p:tn val="14"/>
                                            </p:cond>
                                          </p:stCondLst>
                                          <p:endCondLst>
                                            <p:cond evt="onStopAudio" delay="0">
                                              <p:tgtEl>
                                                <p:sldTgt/>
                                              </p:tgtEl>
                                            </p:cond>
                                          </p:endCondLst>
                                        </p:cTn>
                                        <p:tgtEl>
                                          <p:sndTgt r:embed="rId9" name="bomb.wav"/>
                                        </p:tgtEl>
                                      </p:cMediaNode>
                                    </p:audio>
                                  </p:subTnLst>
                                </p:cTn>
                              </p:par>
                            </p:childTnLst>
                          </p:cTn>
                        </p:par>
                      </p:childTnLst>
                    </p:cTn>
                  </p:par>
                </p:childTnLst>
              </p:cTn>
              <p:prevCondLst>
                <p:cond evt="onPrev" delay="0">
                  <p:tgtEl>
                    <p:sldTgt/>
                  </p:tgtEl>
                </p:cond>
              </p:prevCondLst>
              <p:nextCondLst>
                <p:cond evt="onNext" delay="0">
                  <p:tgtEl>
                    <p:sldTgt/>
                  </p:tgtEl>
                </p:cond>
              </p:nextCondLst>
            </p:seq>
            <p:seq concurrent="1" nextAc="seek">
              <p:cTn id="16" restart="whenNotActive" fill="hold" evtFilter="cancelBubble" nodeType="interactiveSeq">
                <p:stCondLst>
                  <p:cond evt="onClick" delay="0">
                    <p:tgtEl>
                      <p:spTgt spid="10"/>
                    </p:tgtEl>
                  </p:cond>
                </p:stCondLst>
                <p:endSync evt="end" delay="0">
                  <p:rtn val="all"/>
                </p:endSync>
                <p:childTnLst>
                  <p:par>
                    <p:cTn id="17" fill="hold">
                      <p:stCondLst>
                        <p:cond delay="0"/>
                      </p:stCondLst>
                      <p:childTnLst>
                        <p:par>
                          <p:cTn id="18" fill="hold">
                            <p:stCondLst>
                              <p:cond delay="0"/>
                            </p:stCondLst>
                            <p:childTnLst>
                              <p:par>
                                <p:cTn id="19" presetID="30" presetClass="emph" presetSubtype="0" fill="hold" grpId="0" nodeType="clickEffect">
                                  <p:stCondLst>
                                    <p:cond delay="0"/>
                                  </p:stCondLst>
                                  <p:childTnLst>
                                    <p:animClr clrSpc="hsl" dir="cw">
                                      <p:cBhvr override="childStyle">
                                        <p:cTn id="20" dur="500" fill="hold"/>
                                        <p:tgtEl>
                                          <p:spTgt spid="10"/>
                                        </p:tgtEl>
                                        <p:attrNameLst>
                                          <p:attrName>style.color</p:attrName>
                                        </p:attrNameLst>
                                      </p:cBhvr>
                                      <p:by>
                                        <p:hsl h="0" s="12549" l="25098"/>
                                      </p:by>
                                    </p:animClr>
                                    <p:animClr clrSpc="hsl" dir="cw">
                                      <p:cBhvr>
                                        <p:cTn id="21" dur="500" fill="hold"/>
                                        <p:tgtEl>
                                          <p:spTgt spid="10"/>
                                        </p:tgtEl>
                                        <p:attrNameLst>
                                          <p:attrName>fillcolor</p:attrName>
                                        </p:attrNameLst>
                                      </p:cBhvr>
                                      <p:by>
                                        <p:hsl h="0" s="12549" l="25098"/>
                                      </p:by>
                                    </p:animClr>
                                    <p:animClr clrSpc="hsl" dir="cw">
                                      <p:cBhvr>
                                        <p:cTn id="22" dur="500" fill="hold"/>
                                        <p:tgtEl>
                                          <p:spTgt spid="10"/>
                                        </p:tgtEl>
                                        <p:attrNameLst>
                                          <p:attrName>stroke.color</p:attrName>
                                        </p:attrNameLst>
                                      </p:cBhvr>
                                      <p:by>
                                        <p:hsl h="0" s="12549" l="25098"/>
                                      </p:by>
                                    </p:animClr>
                                    <p:set>
                                      <p:cBhvr>
                                        <p:cTn id="23" dur="500" fill="hold"/>
                                        <p:tgtEl>
                                          <p:spTgt spid="10"/>
                                        </p:tgtEl>
                                        <p:attrNameLst>
                                          <p:attrName>fill.type</p:attrName>
                                        </p:attrNameLst>
                                      </p:cBhvr>
                                      <p:to>
                                        <p:strVal val="solid"/>
                                      </p:to>
                                    </p:set>
                                  </p:childTnLst>
                                  <p:subTnLst>
                                    <p:audio>
                                      <p:cMediaNode>
                                        <p:cTn display="0" masterRel="sameClick">
                                          <p:stCondLst>
                                            <p:cond evt="begin" delay="0">
                                              <p:tn val="19"/>
                                            </p:cond>
                                          </p:stCondLst>
                                          <p:endCondLst>
                                            <p:cond evt="onStopAudio" delay="0">
                                              <p:tgtEl>
                                                <p:sldTgt/>
                                              </p:tgtEl>
                                            </p:cond>
                                          </p:endCondLst>
                                        </p:cTn>
                                        <p:tgtEl>
                                          <p:sndTgt r:embed="rId10" name="applause.wav"/>
                                        </p:tgtEl>
                                      </p:cMediaNode>
                                    </p:audio>
                                    <p:animClr clrSpc="rgb" dir="cw">
                                      <p:cBhvr override="childStyle">
                                        <p:cTn dur="1" fill="hold" display="0" masterRel="nextClick" afterEffect="1"/>
                                        <p:tgtEl>
                                          <p:spTgt spid="10"/>
                                        </p:tgtEl>
                                        <p:attrNameLst>
                                          <p:attrName>ppt_c</p:attrName>
                                        </p:attrNameLst>
                                      </p:cBhvr>
                                      <p:to>
                                        <a:schemeClr val="accent2"/>
                                      </p:to>
                                    </p:animClr>
                                  </p:subTnLst>
                                </p:cTn>
                              </p:par>
                            </p:childTnLst>
                          </p:cTn>
                        </p:par>
                      </p:childTnLst>
                    </p:cTn>
                  </p:par>
                </p:childTnLst>
              </p:cTn>
              <p:nextCondLst>
                <p:cond evt="onClick" delay="0">
                  <p:tgtEl>
                    <p:spTgt spid="10"/>
                  </p:tgtEl>
                </p:cond>
              </p:nextCondLst>
            </p:seq>
            <p:seq concurrent="1" nextAc="seek">
              <p:cTn id="24" restart="whenNotActive" fill="hold" evtFilter="cancelBubble" nodeType="interactiveSeq">
                <p:stCondLst>
                  <p:cond evt="onClick" delay="0">
                    <p:tgtEl>
                      <p:spTgt spid="11"/>
                    </p:tgtEl>
                  </p:cond>
                </p:stCondLst>
                <p:endSync evt="end" delay="0">
                  <p:rtn val="all"/>
                </p:endSync>
                <p:childTnLst>
                  <p:par>
                    <p:cTn id="25" fill="hold">
                      <p:stCondLst>
                        <p:cond delay="0"/>
                      </p:stCondLst>
                      <p:childTnLst>
                        <p:par>
                          <p:cTn id="26" fill="hold">
                            <p:stCondLst>
                              <p:cond delay="0"/>
                            </p:stCondLst>
                            <p:childTnLst>
                              <p:par>
                                <p:cTn id="27" presetID="26" presetClass="emph" presetSubtype="0" fill="hold" grpId="0" nodeType="clickEffect">
                                  <p:stCondLst>
                                    <p:cond delay="0"/>
                                  </p:stCondLst>
                                  <p:childTnLst>
                                    <p:animEffect transition="out" filter="fade">
                                      <p:cBhvr>
                                        <p:cTn id="28" dur="500" tmFilter="0, 0; .2, .5; .8, .5; 1, 0"/>
                                        <p:tgtEl>
                                          <p:spTgt spid="11"/>
                                        </p:tgtEl>
                                      </p:cBhvr>
                                    </p:animEffect>
                                    <p:animScale>
                                      <p:cBhvr>
                                        <p:cTn id="29" dur="250" autoRev="1" fill="hold"/>
                                        <p:tgtEl>
                                          <p:spTgt spid="11"/>
                                        </p:tgtEl>
                                      </p:cBhvr>
                                      <p:by x="105000" y="105000"/>
                                    </p:animScale>
                                  </p:childTnLst>
                                  <p:subTnLst>
                                    <p:audio>
                                      <p:cMediaNode>
                                        <p:cTn display="0" masterRel="sameClick">
                                          <p:stCondLst>
                                            <p:cond evt="begin" delay="0">
                                              <p:tn val="27"/>
                                            </p:cond>
                                          </p:stCondLst>
                                          <p:endCondLst>
                                            <p:cond evt="onStopAudio" delay="0">
                                              <p:tgtEl>
                                                <p:sldTgt/>
                                              </p:tgtEl>
                                            </p:cond>
                                          </p:endCondLst>
                                        </p:cTn>
                                        <p:tgtEl>
                                          <p:sndTgt r:embed="rId9" name="bomb.wav"/>
                                        </p:tgtEl>
                                      </p:cMediaNode>
                                    </p:audio>
                                  </p:subTnLst>
                                </p:cTn>
                              </p:par>
                            </p:childTnLst>
                          </p:cTn>
                        </p:par>
                      </p:childTnLst>
                    </p:cTn>
                  </p:par>
                </p:childTnLst>
              </p:cTn>
              <p:nextCondLst>
                <p:cond evt="onClick" delay="0">
                  <p:tgtEl>
                    <p:spTgt spid="11"/>
                  </p:tgtEl>
                </p:cond>
              </p:nextCondLst>
            </p:seq>
            <p:seq concurrent="1" nextAc="seek">
              <p:cTn id="30" restart="whenNotActive" fill="hold" evtFilter="cancelBubble" nodeType="interactiveSeq">
                <p:stCondLst>
                  <p:cond evt="onClick" delay="0">
                    <p:tgtEl>
                      <p:spTgt spid="12"/>
                    </p:tgtEl>
                  </p:cond>
                </p:stCondLst>
                <p:endSync evt="end" delay="0">
                  <p:rtn val="all"/>
                </p:endSync>
                <p:childTnLst>
                  <p:par>
                    <p:cTn id="31" fill="hold">
                      <p:stCondLst>
                        <p:cond delay="0"/>
                      </p:stCondLst>
                      <p:childTnLst>
                        <p:par>
                          <p:cTn id="32" fill="hold">
                            <p:stCondLst>
                              <p:cond delay="0"/>
                            </p:stCondLst>
                            <p:childTnLst>
                              <p:par>
                                <p:cTn id="33" presetID="26" presetClass="emph" presetSubtype="0" fill="hold" grpId="0" nodeType="clickEffect">
                                  <p:stCondLst>
                                    <p:cond delay="0"/>
                                  </p:stCondLst>
                                  <p:childTnLst>
                                    <p:animEffect transition="out" filter="fade">
                                      <p:cBhvr>
                                        <p:cTn id="34" dur="500" tmFilter="0, 0; .2, .5; .8, .5; 1, 0"/>
                                        <p:tgtEl>
                                          <p:spTgt spid="12"/>
                                        </p:tgtEl>
                                      </p:cBhvr>
                                    </p:animEffect>
                                    <p:animScale>
                                      <p:cBhvr>
                                        <p:cTn id="35" dur="250" autoRev="1" fill="hold"/>
                                        <p:tgtEl>
                                          <p:spTgt spid="12"/>
                                        </p:tgtEl>
                                      </p:cBhvr>
                                      <p:by x="105000" y="105000"/>
                                    </p:animScale>
                                  </p:childTnLst>
                                  <p:subTnLst>
                                    <p:audio>
                                      <p:cMediaNode>
                                        <p:cTn display="0" masterRel="sameClick">
                                          <p:stCondLst>
                                            <p:cond evt="begin" delay="0">
                                              <p:tn val="33"/>
                                            </p:cond>
                                          </p:stCondLst>
                                          <p:endCondLst>
                                            <p:cond evt="onStopAudio" delay="0">
                                              <p:tgtEl>
                                                <p:sldTgt/>
                                              </p:tgtEl>
                                            </p:cond>
                                          </p:endCondLst>
                                        </p:cTn>
                                        <p:tgtEl>
                                          <p:sndTgt r:embed="rId9" name="bomb.wav"/>
                                        </p:tgtEl>
                                      </p:cMediaNode>
                                    </p:audio>
                                  </p:subTnLst>
                                </p:cTn>
                              </p:par>
                            </p:childTnLst>
                          </p:cTn>
                        </p:par>
                      </p:childTnLst>
                    </p:cTn>
                  </p:par>
                </p:childTnLst>
              </p:cTn>
              <p:nextCondLst>
                <p:cond evt="onClick" delay="0">
                  <p:tgtEl>
                    <p:spTgt spid="12"/>
                  </p:tgtEl>
                </p:cond>
              </p:nextCondLst>
            </p:seq>
            <p:seq concurrent="1" nextAc="seek">
              <p:cTn id="36" restart="whenNotActive" fill="hold" evtFilter="cancelBubble" nodeType="interactiveSeq">
                <p:stCondLst>
                  <p:cond evt="onClick" delay="0">
                    <p:tgtEl>
                      <p:spTgt spid="13"/>
                    </p:tgtEl>
                  </p:cond>
                </p:stCondLst>
                <p:endSync evt="end" delay="0">
                  <p:rtn val="all"/>
                </p:endSync>
                <p:childTnLst>
                  <p:par>
                    <p:cTn id="37" fill="hold">
                      <p:stCondLst>
                        <p:cond delay="0"/>
                      </p:stCondLst>
                      <p:childTnLst>
                        <p:par>
                          <p:cTn id="38" fill="hold">
                            <p:stCondLst>
                              <p:cond delay="0"/>
                            </p:stCondLst>
                            <p:childTnLst>
                              <p:par>
                                <p:cTn id="39" presetID="26" presetClass="emph" presetSubtype="0" fill="hold" grpId="0" nodeType="clickEffect">
                                  <p:stCondLst>
                                    <p:cond delay="0"/>
                                  </p:stCondLst>
                                  <p:childTnLst>
                                    <p:animEffect transition="out" filter="fade">
                                      <p:cBhvr>
                                        <p:cTn id="40" dur="500" tmFilter="0, 0; .2, .5; .8, .5; 1, 0"/>
                                        <p:tgtEl>
                                          <p:spTgt spid="13"/>
                                        </p:tgtEl>
                                      </p:cBhvr>
                                    </p:animEffect>
                                    <p:animScale>
                                      <p:cBhvr>
                                        <p:cTn id="41" dur="250" autoRev="1" fill="hold"/>
                                        <p:tgtEl>
                                          <p:spTgt spid="13"/>
                                        </p:tgtEl>
                                      </p:cBhvr>
                                      <p:by x="105000" y="105000"/>
                                    </p:animScale>
                                  </p:childTnLst>
                                  <p:subTnLst>
                                    <p:audio>
                                      <p:cMediaNode>
                                        <p:cTn display="0" masterRel="sameClick">
                                          <p:stCondLst>
                                            <p:cond evt="begin" delay="0">
                                              <p:tn val="39"/>
                                            </p:cond>
                                          </p:stCondLst>
                                          <p:endCondLst>
                                            <p:cond evt="onStopAudio" delay="0">
                                              <p:tgtEl>
                                                <p:sldTgt/>
                                              </p:tgtEl>
                                            </p:cond>
                                          </p:endCondLst>
                                        </p:cTn>
                                        <p:tgtEl>
                                          <p:sndTgt r:embed="rId9" name="bomb.wav"/>
                                        </p:tgtEl>
                                      </p:cMediaNode>
                                    </p:audio>
                                  </p:subTnLst>
                                </p:cTn>
                              </p:par>
                            </p:childTnLst>
                          </p:cTn>
                        </p:par>
                      </p:childTnLst>
                    </p:cTn>
                  </p:par>
                </p:childTnLst>
              </p:cTn>
              <p:nextCondLst>
                <p:cond evt="onClick" delay="0">
                  <p:tgtEl>
                    <p:spTgt spid="13"/>
                  </p:tgtEl>
                </p:cond>
              </p:nextCondLst>
            </p:seq>
            <p:seq concurrent="1" nextAc="seek">
              <p:cTn id="42" restart="whenNotActive" fill="hold" evtFilter="cancelBubble" nodeType="interactiveSeq">
                <p:stCondLst>
                  <p:cond evt="onClick" delay="0">
                    <p:tgtEl>
                      <p:spTgt spid="26"/>
                    </p:tgtEl>
                  </p:cond>
                </p:stCondLst>
                <p:endSync evt="end" delay="0">
                  <p:rtn val="all"/>
                </p:endSync>
                <p:childTnLst>
                  <p:par>
                    <p:cTn id="43" fill="hold">
                      <p:stCondLst>
                        <p:cond delay="0"/>
                      </p:stCondLst>
                      <p:childTnLst>
                        <p:par>
                          <p:cTn id="44" fill="hold">
                            <p:stCondLst>
                              <p:cond delay="0"/>
                            </p:stCondLst>
                            <p:childTnLst>
                              <p:par>
                                <p:cTn id="45" presetID="11" presetClass="entr" presetSubtype="0" fill="hold" grpId="0" nodeType="afterEffect">
                                  <p:stCondLst>
                                    <p:cond delay="0"/>
                                  </p:stCondLst>
                                  <p:childTnLst>
                                    <p:set>
                                      <p:cBhvr>
                                        <p:cTn id="46" dur="1000">
                                          <p:stCondLst>
                                            <p:cond delay="0"/>
                                          </p:stCondLst>
                                        </p:cTn>
                                        <p:tgtEl>
                                          <p:spTgt spid="15"/>
                                        </p:tgtEl>
                                        <p:attrNameLst>
                                          <p:attrName>style.visibility</p:attrName>
                                        </p:attrNameLst>
                                      </p:cBhvr>
                                      <p:to>
                                        <p:strVal val="visible"/>
                                      </p:to>
                                    </p:set>
                                  </p:childTnLst>
                                </p:cTn>
                              </p:par>
                            </p:childTnLst>
                          </p:cTn>
                        </p:par>
                        <p:par>
                          <p:cTn id="47" fill="hold">
                            <p:stCondLst>
                              <p:cond delay="1000"/>
                            </p:stCondLst>
                            <p:childTnLst>
                              <p:par>
                                <p:cTn id="48" presetID="11" presetClass="entr" presetSubtype="0" fill="hold" grpId="0" nodeType="afterEffect">
                                  <p:stCondLst>
                                    <p:cond delay="0"/>
                                  </p:stCondLst>
                                  <p:childTnLst>
                                    <p:set>
                                      <p:cBhvr>
                                        <p:cTn id="49" dur="1000">
                                          <p:stCondLst>
                                            <p:cond delay="0"/>
                                          </p:stCondLst>
                                        </p:cTn>
                                        <p:tgtEl>
                                          <p:spTgt spid="16"/>
                                        </p:tgtEl>
                                        <p:attrNameLst>
                                          <p:attrName>style.visibility</p:attrName>
                                        </p:attrNameLst>
                                      </p:cBhvr>
                                      <p:to>
                                        <p:strVal val="visible"/>
                                      </p:to>
                                    </p:set>
                                  </p:childTnLst>
                                </p:cTn>
                              </p:par>
                            </p:childTnLst>
                          </p:cTn>
                        </p:par>
                        <p:par>
                          <p:cTn id="50" fill="hold">
                            <p:stCondLst>
                              <p:cond delay="2000"/>
                            </p:stCondLst>
                            <p:childTnLst>
                              <p:par>
                                <p:cTn id="51" presetID="11" presetClass="entr" presetSubtype="0" fill="hold" grpId="0" nodeType="afterEffect">
                                  <p:stCondLst>
                                    <p:cond delay="0"/>
                                  </p:stCondLst>
                                  <p:childTnLst>
                                    <p:set>
                                      <p:cBhvr>
                                        <p:cTn id="52" dur="1000">
                                          <p:stCondLst>
                                            <p:cond delay="0"/>
                                          </p:stCondLst>
                                        </p:cTn>
                                        <p:tgtEl>
                                          <p:spTgt spid="17"/>
                                        </p:tgtEl>
                                        <p:attrNameLst>
                                          <p:attrName>style.visibility</p:attrName>
                                        </p:attrNameLst>
                                      </p:cBhvr>
                                      <p:to>
                                        <p:strVal val="visible"/>
                                      </p:to>
                                    </p:set>
                                  </p:childTnLst>
                                </p:cTn>
                              </p:par>
                            </p:childTnLst>
                          </p:cTn>
                        </p:par>
                        <p:par>
                          <p:cTn id="53" fill="hold">
                            <p:stCondLst>
                              <p:cond delay="3000"/>
                            </p:stCondLst>
                            <p:childTnLst>
                              <p:par>
                                <p:cTn id="54" presetID="11" presetClass="entr" presetSubtype="0" fill="hold" grpId="0" nodeType="afterEffect">
                                  <p:stCondLst>
                                    <p:cond delay="0"/>
                                  </p:stCondLst>
                                  <p:childTnLst>
                                    <p:set>
                                      <p:cBhvr>
                                        <p:cTn id="55" dur="1000">
                                          <p:stCondLst>
                                            <p:cond delay="0"/>
                                          </p:stCondLst>
                                        </p:cTn>
                                        <p:tgtEl>
                                          <p:spTgt spid="18"/>
                                        </p:tgtEl>
                                        <p:attrNameLst>
                                          <p:attrName>style.visibility</p:attrName>
                                        </p:attrNameLst>
                                      </p:cBhvr>
                                      <p:to>
                                        <p:strVal val="visible"/>
                                      </p:to>
                                    </p:set>
                                  </p:childTnLst>
                                </p:cTn>
                              </p:par>
                            </p:childTnLst>
                          </p:cTn>
                        </p:par>
                        <p:par>
                          <p:cTn id="56" fill="hold">
                            <p:stCondLst>
                              <p:cond delay="4000"/>
                            </p:stCondLst>
                            <p:childTnLst>
                              <p:par>
                                <p:cTn id="57" presetID="11" presetClass="entr" presetSubtype="0" fill="hold" grpId="0" nodeType="afterEffect">
                                  <p:stCondLst>
                                    <p:cond delay="0"/>
                                  </p:stCondLst>
                                  <p:childTnLst>
                                    <p:set>
                                      <p:cBhvr>
                                        <p:cTn id="58" dur="1000">
                                          <p:stCondLst>
                                            <p:cond delay="0"/>
                                          </p:stCondLst>
                                        </p:cTn>
                                        <p:tgtEl>
                                          <p:spTgt spid="19"/>
                                        </p:tgtEl>
                                        <p:attrNameLst>
                                          <p:attrName>style.visibility</p:attrName>
                                        </p:attrNameLst>
                                      </p:cBhvr>
                                      <p:to>
                                        <p:strVal val="visible"/>
                                      </p:to>
                                    </p:set>
                                  </p:childTnLst>
                                </p:cTn>
                              </p:par>
                            </p:childTnLst>
                          </p:cTn>
                        </p:par>
                        <p:par>
                          <p:cTn id="59" fill="hold">
                            <p:stCondLst>
                              <p:cond delay="5000"/>
                            </p:stCondLst>
                            <p:childTnLst>
                              <p:par>
                                <p:cTn id="60" presetID="11" presetClass="entr" presetSubtype="0" fill="hold" grpId="0" nodeType="afterEffect">
                                  <p:stCondLst>
                                    <p:cond delay="0"/>
                                  </p:stCondLst>
                                  <p:childTnLst>
                                    <p:set>
                                      <p:cBhvr>
                                        <p:cTn id="61" dur="1000">
                                          <p:stCondLst>
                                            <p:cond delay="0"/>
                                          </p:stCondLst>
                                        </p:cTn>
                                        <p:tgtEl>
                                          <p:spTgt spid="20"/>
                                        </p:tgtEl>
                                        <p:attrNameLst>
                                          <p:attrName>style.visibility</p:attrName>
                                        </p:attrNameLst>
                                      </p:cBhvr>
                                      <p:to>
                                        <p:strVal val="visible"/>
                                      </p:to>
                                    </p:set>
                                  </p:childTnLst>
                                </p:cTn>
                              </p:par>
                            </p:childTnLst>
                          </p:cTn>
                        </p:par>
                        <p:par>
                          <p:cTn id="62" fill="hold">
                            <p:stCondLst>
                              <p:cond delay="6000"/>
                            </p:stCondLst>
                            <p:childTnLst>
                              <p:par>
                                <p:cTn id="63" presetID="11" presetClass="entr" presetSubtype="0" fill="hold" grpId="0" nodeType="afterEffect">
                                  <p:stCondLst>
                                    <p:cond delay="0"/>
                                  </p:stCondLst>
                                  <p:childTnLst>
                                    <p:set>
                                      <p:cBhvr>
                                        <p:cTn id="64" dur="1000">
                                          <p:stCondLst>
                                            <p:cond delay="0"/>
                                          </p:stCondLst>
                                        </p:cTn>
                                        <p:tgtEl>
                                          <p:spTgt spid="21"/>
                                        </p:tgtEl>
                                        <p:attrNameLst>
                                          <p:attrName>style.visibility</p:attrName>
                                        </p:attrNameLst>
                                      </p:cBhvr>
                                      <p:to>
                                        <p:strVal val="visible"/>
                                      </p:to>
                                    </p:set>
                                  </p:childTnLst>
                                </p:cTn>
                              </p:par>
                            </p:childTnLst>
                          </p:cTn>
                        </p:par>
                        <p:par>
                          <p:cTn id="65" fill="hold">
                            <p:stCondLst>
                              <p:cond delay="7000"/>
                            </p:stCondLst>
                            <p:childTnLst>
                              <p:par>
                                <p:cTn id="66" presetID="11" presetClass="entr" presetSubtype="0" fill="hold" grpId="0" nodeType="afterEffect">
                                  <p:stCondLst>
                                    <p:cond delay="0"/>
                                  </p:stCondLst>
                                  <p:childTnLst>
                                    <p:set>
                                      <p:cBhvr>
                                        <p:cTn id="67" dur="1000">
                                          <p:stCondLst>
                                            <p:cond delay="0"/>
                                          </p:stCondLst>
                                        </p:cTn>
                                        <p:tgtEl>
                                          <p:spTgt spid="22"/>
                                        </p:tgtEl>
                                        <p:attrNameLst>
                                          <p:attrName>style.visibility</p:attrName>
                                        </p:attrNameLst>
                                      </p:cBhvr>
                                      <p:to>
                                        <p:strVal val="visible"/>
                                      </p:to>
                                    </p:set>
                                  </p:childTnLst>
                                </p:cTn>
                              </p:par>
                            </p:childTnLst>
                          </p:cTn>
                        </p:par>
                        <p:par>
                          <p:cTn id="68" fill="hold">
                            <p:stCondLst>
                              <p:cond delay="8000"/>
                            </p:stCondLst>
                            <p:childTnLst>
                              <p:par>
                                <p:cTn id="69" presetID="11" presetClass="entr" presetSubtype="0" fill="hold" grpId="0" nodeType="afterEffect">
                                  <p:stCondLst>
                                    <p:cond delay="0"/>
                                  </p:stCondLst>
                                  <p:childTnLst>
                                    <p:set>
                                      <p:cBhvr>
                                        <p:cTn id="70" dur="1000">
                                          <p:stCondLst>
                                            <p:cond delay="0"/>
                                          </p:stCondLst>
                                        </p:cTn>
                                        <p:tgtEl>
                                          <p:spTgt spid="23"/>
                                        </p:tgtEl>
                                        <p:attrNameLst>
                                          <p:attrName>style.visibility</p:attrName>
                                        </p:attrNameLst>
                                      </p:cBhvr>
                                      <p:to>
                                        <p:strVal val="visible"/>
                                      </p:to>
                                    </p:set>
                                  </p:childTnLst>
                                </p:cTn>
                              </p:par>
                            </p:childTnLst>
                          </p:cTn>
                        </p:par>
                        <p:par>
                          <p:cTn id="71" fill="hold">
                            <p:stCondLst>
                              <p:cond delay="9000"/>
                            </p:stCondLst>
                            <p:childTnLst>
                              <p:par>
                                <p:cTn id="72" presetID="11" presetClass="entr" presetSubtype="0" fill="hold" grpId="0" nodeType="afterEffect">
                                  <p:stCondLst>
                                    <p:cond delay="0"/>
                                  </p:stCondLst>
                                  <p:childTnLst>
                                    <p:set>
                                      <p:cBhvr>
                                        <p:cTn id="73" dur="1000">
                                          <p:stCondLst>
                                            <p:cond delay="0"/>
                                          </p:stCondLst>
                                        </p:cTn>
                                        <p:tgtEl>
                                          <p:spTgt spid="24"/>
                                        </p:tgtEl>
                                        <p:attrNameLst>
                                          <p:attrName>style.visibility</p:attrName>
                                        </p:attrNameLst>
                                      </p:cBhvr>
                                      <p:to>
                                        <p:strVal val="visible"/>
                                      </p:to>
                                    </p:set>
                                  </p:childTnLst>
                                </p:cTn>
                              </p:par>
                            </p:childTnLst>
                          </p:cTn>
                        </p:par>
                        <p:par>
                          <p:cTn id="74" fill="hold">
                            <p:stCondLst>
                              <p:cond delay="10000"/>
                            </p:stCondLst>
                            <p:childTnLst>
                              <p:par>
                                <p:cTn id="75" presetID="11" presetClass="entr" presetSubtype="0" fill="hold" grpId="0" nodeType="afterEffect">
                                  <p:stCondLst>
                                    <p:cond delay="0"/>
                                  </p:stCondLst>
                                  <p:childTnLst>
                                    <p:set>
                                      <p:cBhvr>
                                        <p:cTn id="76" dur="1000">
                                          <p:stCondLst>
                                            <p:cond delay="0"/>
                                          </p:stCondLst>
                                        </p:cTn>
                                        <p:tgtEl>
                                          <p:spTgt spid="25"/>
                                        </p:tgtEl>
                                        <p:attrNameLst>
                                          <p:attrName>style.visibility</p:attrName>
                                        </p:attrNameLst>
                                      </p:cBhvr>
                                      <p:to>
                                        <p:strVal val="visible"/>
                                      </p:to>
                                    </p:set>
                                  </p:childTnLst>
                                </p:cTn>
                              </p:par>
                            </p:childTnLst>
                          </p:cTn>
                        </p:par>
                      </p:childTnLst>
                    </p:cTn>
                  </p:par>
                </p:childTnLst>
              </p:cTn>
              <p:nextCondLst>
                <p:cond evt="onClick" delay="0">
                  <p:tgtEl>
                    <p:spTgt spid="26"/>
                  </p:tgtEl>
                </p:cond>
              </p:nextCondLst>
            </p:seq>
          </p:childTnLst>
        </p:cTn>
      </p:par>
    </p:tnLst>
    <p:bldLst>
      <p:bldP spid="10" grpId="0" bldLvl="0" animBg="1"/>
      <p:bldP spid="10" grpId="1" bldLvl="0" animBg="1"/>
      <p:bldP spid="11" grpId="0" bldLvl="0" animBg="1"/>
      <p:bldP spid="11" grpId="1" bldLvl="0" animBg="1"/>
      <p:bldP spid="12" grpId="0" bldLvl="0" animBg="1"/>
      <p:bldP spid="12" grpId="1" bldLvl="0" animBg="1"/>
      <p:bldP spid="13" grpId="0" bldLvl="0" animBg="1"/>
      <p:bldP spid="13" grpId="1" bldLvl="0" animBg="1"/>
      <p:bldP spid="15" grpId="0" bldLvl="0" animBg="1"/>
      <p:bldP spid="16" grpId="0" bldLvl="0" animBg="1"/>
      <p:bldP spid="17" grpId="0" bldLvl="0" animBg="1"/>
      <p:bldP spid="18" grpId="0" bldLvl="0" animBg="1"/>
      <p:bldP spid="19" grpId="0" bldLvl="0" animBg="1"/>
      <p:bldP spid="20" grpId="0" bldLvl="0" animBg="1"/>
      <p:bldP spid="21" grpId="0" bldLvl="0" animBg="1"/>
      <p:bldP spid="22" grpId="0" bldLvl="0" animBg="1"/>
      <p:bldP spid="23" grpId="0" bldLvl="0" animBg="1"/>
      <p:bldP spid="24" grpId="0" bldLvl="0" animBg="1"/>
      <p:bldP spid="25" grpId="0" bldLvl="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1">
            <a:extLst>
              <a:ext uri="{28A0092B-C50C-407E-A947-70E740481C1C}">
                <a14:useLocalDpi xmlns:a14="http://schemas.microsoft.com/office/drawing/2010/main" val="0"/>
              </a:ext>
            </a:extLst>
          </a:blip>
          <a:srcRect b="24227"/>
          <a:stretch>
            <a:fillRect/>
          </a:stretch>
        </p:blipFill>
        <p:spPr>
          <a:xfrm>
            <a:off x="2141339" y="2119652"/>
            <a:ext cx="13716000" cy="7794702"/>
          </a:xfrm>
          <a:prstGeom prst="rect">
            <a:avLst/>
          </a:prstGeom>
        </p:spPr>
      </p:pic>
      <p:sp>
        <p:nvSpPr>
          <p:cNvPr id="3" name="TextBox 2"/>
          <p:cNvSpPr txBox="1"/>
          <p:nvPr/>
        </p:nvSpPr>
        <p:spPr>
          <a:xfrm>
            <a:off x="2910772" y="3242214"/>
            <a:ext cx="12177132" cy="6451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C4.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Cư</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dân</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Văn</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Lang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đoàn</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kết</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nhằm</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mục</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đích</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a:t>
            </a:r>
            <a:r>
              <a:rPr kumimoji="0" lang="en-US" sz="3600" b="1"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gì</a:t>
            </a:r>
            <a:r>
              <a:rPr kumimoji="0" lang="en-US"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a:t>
            </a:r>
            <a:endParaRPr kumimoji="0" lang="vi-VN" sz="3600" b="1"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0" name="A"/>
          <p:cNvSpPr/>
          <p:nvPr/>
        </p:nvSpPr>
        <p:spPr>
          <a:xfrm>
            <a:off x="2712128" y="7496928"/>
            <a:ext cx="6204546" cy="1191990"/>
          </a:xfrm>
          <a:custGeom>
            <a:avLst/>
            <a:gdLst>
              <a:gd name="connsiteX0" fmla="*/ 0 w 4056063"/>
              <a:gd name="connsiteY0" fmla="*/ 0 h 794660"/>
              <a:gd name="connsiteX1" fmla="*/ 3642405 w 4056063"/>
              <a:gd name="connsiteY1" fmla="*/ 0 h 794660"/>
              <a:gd name="connsiteX2" fmla="*/ 3642405 w 4056063"/>
              <a:gd name="connsiteY2" fmla="*/ 1 h 794660"/>
              <a:gd name="connsiteX3" fmla="*/ 4056063 w 4056063"/>
              <a:gd name="connsiteY3" fmla="*/ 397331 h 794660"/>
              <a:gd name="connsiteX4" fmla="*/ 3642405 w 4056063"/>
              <a:gd name="connsiteY4" fmla="*/ 794660 h 794660"/>
              <a:gd name="connsiteX5" fmla="*/ 3642405 w 4056063"/>
              <a:gd name="connsiteY5" fmla="*/ 794658 h 794660"/>
              <a:gd name="connsiteX6" fmla="*/ 0 w 4056063"/>
              <a:gd name="connsiteY6" fmla="*/ 794658 h 7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6063" h="794660">
                <a:moveTo>
                  <a:pt x="0" y="0"/>
                </a:moveTo>
                <a:lnTo>
                  <a:pt x="3642405" y="0"/>
                </a:lnTo>
                <a:lnTo>
                  <a:pt x="3642405" y="1"/>
                </a:lnTo>
                <a:lnTo>
                  <a:pt x="4056063" y="397331"/>
                </a:lnTo>
                <a:lnTo>
                  <a:pt x="3642405" y="794660"/>
                </a:lnTo>
                <a:lnTo>
                  <a:pt x="3642405" y="794658"/>
                </a:lnTo>
                <a:lnTo>
                  <a:pt x="0" y="794658"/>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700" b="0" i="0" u="none" strike="noStrike" kern="1200" cap="none" spc="0" normalizeH="0" baseline="0" noProof="0" dirty="0">
                <a:ln>
                  <a:noFill/>
                </a:ln>
                <a:solidFill>
                  <a:prstClr val="white"/>
                </a:solidFill>
                <a:effectLst/>
                <a:uLnTx/>
                <a:uFillTx/>
                <a:latin typeface="Calibri" panose="020F0502020204030204"/>
                <a:ea typeface="+mn-ea"/>
                <a:cs typeface="+mn-cs"/>
              </a:rPr>
              <a:t>TRỊ</a:t>
            </a:r>
            <a:r>
              <a:rPr kumimoji="0" lang="en-US" sz="2700" b="0" i="0" u="none" strike="noStrike" kern="1200" cap="none" spc="0" normalizeH="0" noProof="0" dirty="0">
                <a:ln>
                  <a:noFill/>
                </a:ln>
                <a:solidFill>
                  <a:prstClr val="white"/>
                </a:solidFill>
                <a:effectLst/>
                <a:uLnTx/>
                <a:uFillTx/>
                <a:latin typeface="Calibri" panose="020F0502020204030204"/>
                <a:ea typeface="+mn-ea"/>
                <a:cs typeface="+mn-cs"/>
              </a:rPr>
              <a:t> THỦY VÀ CHỐNG GIẶC NGOẠI XÂM</a:t>
            </a:r>
            <a:endParaRPr kumimoji="0" lang="vi-VN" sz="27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1" name="B"/>
          <p:cNvSpPr/>
          <p:nvPr/>
        </p:nvSpPr>
        <p:spPr>
          <a:xfrm>
            <a:off x="2712128" y="5749772"/>
            <a:ext cx="6204546" cy="1191990"/>
          </a:xfrm>
          <a:custGeom>
            <a:avLst/>
            <a:gdLst>
              <a:gd name="connsiteX0" fmla="*/ 0 w 4056063"/>
              <a:gd name="connsiteY0" fmla="*/ 0 h 794660"/>
              <a:gd name="connsiteX1" fmla="*/ 3642405 w 4056063"/>
              <a:gd name="connsiteY1" fmla="*/ 0 h 794660"/>
              <a:gd name="connsiteX2" fmla="*/ 3642405 w 4056063"/>
              <a:gd name="connsiteY2" fmla="*/ 1 h 794660"/>
              <a:gd name="connsiteX3" fmla="*/ 4056063 w 4056063"/>
              <a:gd name="connsiteY3" fmla="*/ 397331 h 794660"/>
              <a:gd name="connsiteX4" fmla="*/ 3642405 w 4056063"/>
              <a:gd name="connsiteY4" fmla="*/ 794660 h 794660"/>
              <a:gd name="connsiteX5" fmla="*/ 3642405 w 4056063"/>
              <a:gd name="connsiteY5" fmla="*/ 794658 h 794660"/>
              <a:gd name="connsiteX6" fmla="*/ 0 w 4056063"/>
              <a:gd name="connsiteY6" fmla="*/ 794658 h 7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6063" h="794660">
                <a:moveTo>
                  <a:pt x="0" y="0"/>
                </a:moveTo>
                <a:lnTo>
                  <a:pt x="3642405" y="0"/>
                </a:lnTo>
                <a:lnTo>
                  <a:pt x="3642405" y="1"/>
                </a:lnTo>
                <a:lnTo>
                  <a:pt x="4056063" y="397331"/>
                </a:lnTo>
                <a:lnTo>
                  <a:pt x="3642405" y="794660"/>
                </a:lnTo>
                <a:lnTo>
                  <a:pt x="3642405" y="794658"/>
                </a:lnTo>
                <a:lnTo>
                  <a:pt x="0" y="794658"/>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700" b="0" i="0" u="none" strike="noStrike" kern="1200" cap="none" spc="0" normalizeH="0" baseline="0" noProof="0" dirty="0">
                <a:ln>
                  <a:noFill/>
                </a:ln>
                <a:solidFill>
                  <a:prstClr val="white"/>
                </a:solidFill>
                <a:effectLst/>
                <a:uLnTx/>
                <a:uFillTx/>
                <a:latin typeface="Calibri" panose="020F0502020204030204"/>
                <a:ea typeface="+mn-ea"/>
                <a:cs typeface="+mn-cs"/>
              </a:rPr>
              <a:t>XUA ĐUỔI</a:t>
            </a:r>
            <a:r>
              <a:rPr kumimoji="0" lang="en-US" sz="2700" b="0" i="0" u="none" strike="noStrike" kern="1200" cap="none" spc="0" normalizeH="0" noProof="0" dirty="0">
                <a:ln>
                  <a:noFill/>
                </a:ln>
                <a:solidFill>
                  <a:prstClr val="white"/>
                </a:solidFill>
                <a:effectLst/>
                <a:uLnTx/>
                <a:uFillTx/>
                <a:latin typeface="Calibri" panose="020F0502020204030204"/>
                <a:ea typeface="+mn-ea"/>
                <a:cs typeface="+mn-cs"/>
              </a:rPr>
              <a:t> THÚ DỮ</a:t>
            </a:r>
            <a:endParaRPr kumimoji="0" lang="vi-VN" sz="27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2" name="C"/>
          <p:cNvSpPr/>
          <p:nvPr/>
        </p:nvSpPr>
        <p:spPr>
          <a:xfrm flipH="1">
            <a:off x="9316046" y="5749772"/>
            <a:ext cx="6198393" cy="1191990"/>
          </a:xfrm>
          <a:custGeom>
            <a:avLst/>
            <a:gdLst>
              <a:gd name="connsiteX0" fmla="*/ 0 w 4056063"/>
              <a:gd name="connsiteY0" fmla="*/ 0 h 794660"/>
              <a:gd name="connsiteX1" fmla="*/ 3642405 w 4056063"/>
              <a:gd name="connsiteY1" fmla="*/ 0 h 794660"/>
              <a:gd name="connsiteX2" fmla="*/ 3642405 w 4056063"/>
              <a:gd name="connsiteY2" fmla="*/ 1 h 794660"/>
              <a:gd name="connsiteX3" fmla="*/ 4056063 w 4056063"/>
              <a:gd name="connsiteY3" fmla="*/ 397331 h 794660"/>
              <a:gd name="connsiteX4" fmla="*/ 3642405 w 4056063"/>
              <a:gd name="connsiteY4" fmla="*/ 794660 h 794660"/>
              <a:gd name="connsiteX5" fmla="*/ 3642405 w 4056063"/>
              <a:gd name="connsiteY5" fmla="*/ 794658 h 794660"/>
              <a:gd name="connsiteX6" fmla="*/ 0 w 4056063"/>
              <a:gd name="connsiteY6" fmla="*/ 794658 h 7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6063" h="794660">
                <a:moveTo>
                  <a:pt x="0" y="0"/>
                </a:moveTo>
                <a:lnTo>
                  <a:pt x="3642405" y="0"/>
                </a:lnTo>
                <a:lnTo>
                  <a:pt x="3642405" y="1"/>
                </a:lnTo>
                <a:lnTo>
                  <a:pt x="4056063" y="397331"/>
                </a:lnTo>
                <a:lnTo>
                  <a:pt x="3642405" y="794660"/>
                </a:lnTo>
                <a:lnTo>
                  <a:pt x="3642405" y="794658"/>
                </a:lnTo>
                <a:lnTo>
                  <a:pt x="0" y="794658"/>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700" b="0" i="0" u="none" strike="noStrike" kern="1200" cap="none" spc="0" normalizeH="0" baseline="0" noProof="0" dirty="0">
                <a:ln>
                  <a:noFill/>
                </a:ln>
                <a:solidFill>
                  <a:prstClr val="white"/>
                </a:solidFill>
                <a:effectLst/>
                <a:uLnTx/>
                <a:uFillTx/>
                <a:latin typeface="Calibri" panose="020F0502020204030204"/>
                <a:ea typeface="+mn-ea"/>
                <a:cs typeface="+mn-cs"/>
              </a:rPr>
              <a:t>TRỒNG</a:t>
            </a:r>
            <a:r>
              <a:rPr kumimoji="0" lang="en-US" sz="2700" b="0" i="0" u="none" strike="noStrike" kern="1200" cap="none" spc="0" normalizeH="0" noProof="0" dirty="0">
                <a:ln>
                  <a:noFill/>
                </a:ln>
                <a:solidFill>
                  <a:prstClr val="white"/>
                </a:solidFill>
                <a:effectLst/>
                <a:uLnTx/>
                <a:uFillTx/>
                <a:latin typeface="Calibri" panose="020F0502020204030204"/>
                <a:ea typeface="+mn-ea"/>
                <a:cs typeface="+mn-cs"/>
              </a:rPr>
              <a:t> TRỌT VÀ CHĂN NUÔI</a:t>
            </a:r>
            <a:endParaRPr kumimoji="0" lang="vi-VN" sz="27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3" name="D"/>
          <p:cNvSpPr/>
          <p:nvPr/>
        </p:nvSpPr>
        <p:spPr>
          <a:xfrm flipH="1">
            <a:off x="9348702" y="7496928"/>
            <a:ext cx="6198393" cy="1191990"/>
          </a:xfrm>
          <a:custGeom>
            <a:avLst/>
            <a:gdLst>
              <a:gd name="connsiteX0" fmla="*/ 0 w 4056063"/>
              <a:gd name="connsiteY0" fmla="*/ 0 h 794660"/>
              <a:gd name="connsiteX1" fmla="*/ 3642405 w 4056063"/>
              <a:gd name="connsiteY1" fmla="*/ 0 h 794660"/>
              <a:gd name="connsiteX2" fmla="*/ 3642405 w 4056063"/>
              <a:gd name="connsiteY2" fmla="*/ 1 h 794660"/>
              <a:gd name="connsiteX3" fmla="*/ 4056063 w 4056063"/>
              <a:gd name="connsiteY3" fmla="*/ 397331 h 794660"/>
              <a:gd name="connsiteX4" fmla="*/ 3642405 w 4056063"/>
              <a:gd name="connsiteY4" fmla="*/ 794660 h 794660"/>
              <a:gd name="connsiteX5" fmla="*/ 3642405 w 4056063"/>
              <a:gd name="connsiteY5" fmla="*/ 794658 h 794660"/>
              <a:gd name="connsiteX6" fmla="*/ 0 w 4056063"/>
              <a:gd name="connsiteY6" fmla="*/ 794658 h 7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6063" h="794660">
                <a:moveTo>
                  <a:pt x="0" y="0"/>
                </a:moveTo>
                <a:lnTo>
                  <a:pt x="3642405" y="0"/>
                </a:lnTo>
                <a:lnTo>
                  <a:pt x="3642405" y="1"/>
                </a:lnTo>
                <a:lnTo>
                  <a:pt x="4056063" y="397331"/>
                </a:lnTo>
                <a:lnTo>
                  <a:pt x="3642405" y="794660"/>
                </a:lnTo>
                <a:lnTo>
                  <a:pt x="3642405" y="794658"/>
                </a:lnTo>
                <a:lnTo>
                  <a:pt x="0" y="794658"/>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700" b="0" i="0" u="none" strike="noStrike" kern="1200" cap="none" spc="0" normalizeH="0" baseline="0" noProof="0" dirty="0">
                <a:ln>
                  <a:noFill/>
                </a:ln>
                <a:solidFill>
                  <a:prstClr val="white"/>
                </a:solidFill>
                <a:effectLst/>
                <a:uLnTx/>
                <a:uFillTx/>
                <a:latin typeface="Calibri" panose="020F0502020204030204"/>
                <a:ea typeface="+mn-ea"/>
                <a:cs typeface="+mn-cs"/>
              </a:rPr>
              <a:t>SĂN</a:t>
            </a:r>
            <a:r>
              <a:rPr kumimoji="0" lang="en-US" sz="2700" b="0" i="0" u="none" strike="noStrike" kern="1200" cap="none" spc="0" normalizeH="0" noProof="0" dirty="0">
                <a:ln>
                  <a:noFill/>
                </a:ln>
                <a:solidFill>
                  <a:prstClr val="white"/>
                </a:solidFill>
                <a:effectLst/>
                <a:uLnTx/>
                <a:uFillTx/>
                <a:latin typeface="Calibri" panose="020F0502020204030204"/>
                <a:ea typeface="+mn-ea"/>
                <a:cs typeface="+mn-cs"/>
              </a:rPr>
              <a:t> BẮT VÀ HÁI LƯỢM</a:t>
            </a:r>
            <a:endParaRPr kumimoji="0" lang="vi-VN" sz="27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5" name="Rounded Rectangle 23"/>
          <p:cNvSpPr/>
          <p:nvPr/>
        </p:nvSpPr>
        <p:spPr>
          <a:xfrm>
            <a:off x="8084634" y="943964"/>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10</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16" name="Rounded Rectangle 24"/>
          <p:cNvSpPr/>
          <p:nvPr/>
        </p:nvSpPr>
        <p:spPr>
          <a:xfrm>
            <a:off x="8084634" y="966141"/>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9</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17" name="Rounded Rectangle 25"/>
          <p:cNvSpPr/>
          <p:nvPr/>
        </p:nvSpPr>
        <p:spPr>
          <a:xfrm>
            <a:off x="8084634" y="981086"/>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8</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18" name="Rounded Rectangle 26"/>
          <p:cNvSpPr/>
          <p:nvPr/>
        </p:nvSpPr>
        <p:spPr>
          <a:xfrm>
            <a:off x="8084634" y="966620"/>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7</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19" name="Rounded Rectangle 27"/>
          <p:cNvSpPr/>
          <p:nvPr/>
        </p:nvSpPr>
        <p:spPr>
          <a:xfrm>
            <a:off x="8084634" y="943964"/>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6</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0" name="Rounded Rectangle 28"/>
          <p:cNvSpPr/>
          <p:nvPr/>
        </p:nvSpPr>
        <p:spPr>
          <a:xfrm>
            <a:off x="8084634" y="973853"/>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5</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1" name="Rounded Rectangle 29"/>
          <p:cNvSpPr/>
          <p:nvPr/>
        </p:nvSpPr>
        <p:spPr>
          <a:xfrm>
            <a:off x="8084634" y="958908"/>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4</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2" name="Rounded Rectangle 30"/>
          <p:cNvSpPr/>
          <p:nvPr/>
        </p:nvSpPr>
        <p:spPr>
          <a:xfrm>
            <a:off x="8084634" y="943964"/>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3</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3" name="Rounded Rectangle 31"/>
          <p:cNvSpPr/>
          <p:nvPr/>
        </p:nvSpPr>
        <p:spPr>
          <a:xfrm>
            <a:off x="8084634" y="914075"/>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2</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4" name="Rounded Rectangle 32"/>
          <p:cNvSpPr/>
          <p:nvPr/>
        </p:nvSpPr>
        <p:spPr>
          <a:xfrm>
            <a:off x="8084634" y="929019"/>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1</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25" name="Rounded Rectangle 33"/>
          <p:cNvSpPr/>
          <p:nvPr/>
        </p:nvSpPr>
        <p:spPr>
          <a:xfrm>
            <a:off x="8084634" y="929019"/>
            <a:ext cx="2286000" cy="10287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rPr>
              <a:t>00:00</a:t>
            </a:r>
            <a:endParaRPr kumimoji="0" lang="en-US" sz="4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pic>
        <p:nvPicPr>
          <p:cNvPr id="26" name="Picture 2" descr="Káº¿t quáº£ hÃ¬nh áº£nh cho icon Äá»ng há»"/>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713534" y="887559"/>
            <a:ext cx="1171311" cy="118586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Hoa Đào png tách nề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7315200" cy="598646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hlinkClick r:id="rId5" action="ppaction://hlinksldjump"/>
          </p:cNvPr>
          <p:cNvPicPr>
            <a:picLocks noChangeAspect="1"/>
          </p:cNvPicPr>
          <p:nvPr/>
        </p:nvPicPr>
        <p:blipFill>
          <a:blip r:embed="rId6">
            <a:extLst>
              <a:ext uri="{BEBA8EAE-BF5A-486C-A8C5-ECC9F3942E4B}">
                <a14:imgProps xmlns:a14="http://schemas.microsoft.com/office/drawing/2010/main">
                  <a14:imgLayer r:embed="rId7">
                    <a14:imgEffect>
                      <a14:backgroundRemoval t="2346" b="100000" l="0" r="95690"/>
                    </a14:imgEffect>
                  </a14:imgLayer>
                </a14:imgProps>
              </a:ext>
            </a:extLst>
          </a:blip>
          <a:stretch>
            <a:fillRect/>
          </a:stretch>
        </p:blipFill>
        <p:spPr>
          <a:xfrm>
            <a:off x="14167119" y="840686"/>
            <a:ext cx="1080468" cy="1058735"/>
          </a:xfrm>
          <a:prstGeom prst="rect">
            <a:avLst/>
          </a:prstGeom>
        </p:spPr>
      </p:pic>
      <p:sp>
        <p:nvSpPr>
          <p:cNvPr id="27" name="Frame 26"/>
          <p:cNvSpPr/>
          <p:nvPr/>
        </p:nvSpPr>
        <p:spPr>
          <a:xfrm>
            <a:off x="0" y="0"/>
            <a:ext cx="18288000" cy="10287000"/>
          </a:xfrm>
          <a:prstGeom prst="frame">
            <a:avLst>
              <a:gd name="adj1" fmla="val 1528"/>
            </a:avLst>
          </a:prstGeom>
          <a:blipFill>
            <a:blip r:embed="rId8"/>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after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1" nodeType="afterEffect">
                                  <p:stCondLst>
                                    <p:cond delay="0"/>
                                  </p:stCondLst>
                                  <p:childTnLst>
                                    <p:set>
                                      <p:cBhvr>
                                        <p:cTn id="9" dur="1" fill="hold">
                                          <p:stCondLst>
                                            <p:cond delay="0"/>
                                          </p:stCondLst>
                                        </p:cTn>
                                        <p:tgtEl>
                                          <p:spTgt spid="11"/>
                                        </p:tgtEl>
                                        <p:attrNameLst>
                                          <p:attrName>style.visibility</p:attrName>
                                        </p:attrNameLst>
                                      </p:cBhvr>
                                      <p:to>
                                        <p:strVal val="visible"/>
                                      </p:to>
                                    </p:set>
                                  </p:childTnLst>
                                  <p:subTnLst>
                                    <p:audio>
                                      <p:cMediaNode>
                                        <p:cTn display="0" masterRel="sameClick">
                                          <p:stCondLst>
                                            <p:cond evt="begin" delay="0">
                                              <p:tn val="8"/>
                                            </p:cond>
                                          </p:stCondLst>
                                          <p:endCondLst>
                                            <p:cond evt="onStopAudio" delay="0">
                                              <p:tgtEl>
                                                <p:sldTgt/>
                                              </p:tgtEl>
                                            </p:cond>
                                          </p:endCondLst>
                                        </p:cTn>
                                        <p:tgtEl>
                                          <p:sndTgt r:embed="rId9" name="bomb.wav"/>
                                        </p:tgtEl>
                                      </p:cMediaNode>
                                    </p:audio>
                                  </p:subTnLst>
                                </p:cTn>
                              </p:par>
                            </p:childTnLst>
                          </p:cTn>
                        </p:par>
                        <p:par>
                          <p:cTn id="10" fill="hold">
                            <p:stCondLst>
                              <p:cond delay="0"/>
                            </p:stCondLst>
                            <p:childTnLst>
                              <p:par>
                                <p:cTn id="11" presetID="1" presetClass="entr" presetSubtype="0" fill="hold" grpId="1" nodeType="afterEffect">
                                  <p:stCondLst>
                                    <p:cond delay="0"/>
                                  </p:stCondLst>
                                  <p:childTnLst>
                                    <p:set>
                                      <p:cBhvr>
                                        <p:cTn id="12" dur="1" fill="hold">
                                          <p:stCondLst>
                                            <p:cond delay="0"/>
                                          </p:stCondLst>
                                        </p:cTn>
                                        <p:tgtEl>
                                          <p:spTgt spid="12"/>
                                        </p:tgtEl>
                                        <p:attrNameLst>
                                          <p:attrName>style.visibility</p:attrName>
                                        </p:attrNameLst>
                                      </p:cBhvr>
                                      <p:to>
                                        <p:strVal val="visible"/>
                                      </p:to>
                                    </p:set>
                                  </p:childTnLst>
                                  <p:subTnLst>
                                    <p:audio>
                                      <p:cMediaNode>
                                        <p:cTn display="0" masterRel="sameClick">
                                          <p:stCondLst>
                                            <p:cond evt="begin" delay="0">
                                              <p:tn val="11"/>
                                            </p:cond>
                                          </p:stCondLst>
                                          <p:endCondLst>
                                            <p:cond evt="onStopAudio" delay="0">
                                              <p:tgtEl>
                                                <p:sldTgt/>
                                              </p:tgtEl>
                                            </p:cond>
                                          </p:endCondLst>
                                        </p:cTn>
                                        <p:tgtEl>
                                          <p:sndTgt r:embed="rId9" name="bomb.wav"/>
                                        </p:tgtEl>
                                      </p:cMediaNode>
                                    </p:audio>
                                  </p:subTnLst>
                                </p:cTn>
                              </p:par>
                            </p:childTnLst>
                          </p:cTn>
                        </p:par>
                        <p:par>
                          <p:cTn id="13" fill="hold">
                            <p:stCondLst>
                              <p:cond delay="0"/>
                            </p:stCondLst>
                            <p:childTnLst>
                              <p:par>
                                <p:cTn id="14" presetID="1" presetClass="entr" presetSubtype="0" fill="hold" grpId="1" nodeType="afterEffect">
                                  <p:stCondLst>
                                    <p:cond delay="0"/>
                                  </p:stCondLst>
                                  <p:childTnLst>
                                    <p:set>
                                      <p:cBhvr>
                                        <p:cTn id="15" dur="1" fill="hold">
                                          <p:stCondLst>
                                            <p:cond delay="0"/>
                                          </p:stCondLst>
                                        </p:cTn>
                                        <p:tgtEl>
                                          <p:spTgt spid="13"/>
                                        </p:tgtEl>
                                        <p:attrNameLst>
                                          <p:attrName>style.visibility</p:attrName>
                                        </p:attrNameLst>
                                      </p:cBhvr>
                                      <p:to>
                                        <p:strVal val="visible"/>
                                      </p:to>
                                    </p:set>
                                  </p:childTnLst>
                                  <p:subTnLst>
                                    <p:audio>
                                      <p:cMediaNode>
                                        <p:cTn display="0" masterRel="sameClick">
                                          <p:stCondLst>
                                            <p:cond evt="begin" delay="0">
                                              <p:tn val="14"/>
                                            </p:cond>
                                          </p:stCondLst>
                                          <p:endCondLst>
                                            <p:cond evt="onStopAudio" delay="0">
                                              <p:tgtEl>
                                                <p:sldTgt/>
                                              </p:tgtEl>
                                            </p:cond>
                                          </p:endCondLst>
                                        </p:cTn>
                                        <p:tgtEl>
                                          <p:sndTgt r:embed="rId9" name="bomb.wav"/>
                                        </p:tgtEl>
                                      </p:cMediaNode>
                                    </p:audio>
                                  </p:subTnLst>
                                </p:cTn>
                              </p:par>
                            </p:childTnLst>
                          </p:cTn>
                        </p:par>
                      </p:childTnLst>
                    </p:cTn>
                  </p:par>
                </p:childTnLst>
              </p:cTn>
              <p:prevCondLst>
                <p:cond evt="onPrev" delay="0">
                  <p:tgtEl>
                    <p:sldTgt/>
                  </p:tgtEl>
                </p:cond>
              </p:prevCondLst>
              <p:nextCondLst>
                <p:cond evt="onNext" delay="0">
                  <p:tgtEl>
                    <p:sldTgt/>
                  </p:tgtEl>
                </p:cond>
              </p:nextCondLst>
            </p:seq>
            <p:seq concurrent="1" nextAc="seek">
              <p:cTn id="16" restart="whenNotActive" fill="hold" evtFilter="cancelBubble" nodeType="interactiveSeq">
                <p:stCondLst>
                  <p:cond evt="onClick" delay="0">
                    <p:tgtEl>
                      <p:spTgt spid="10"/>
                    </p:tgtEl>
                  </p:cond>
                </p:stCondLst>
                <p:endSync evt="end" delay="0">
                  <p:rtn val="all"/>
                </p:endSync>
                <p:childTnLst>
                  <p:par>
                    <p:cTn id="17" fill="hold">
                      <p:stCondLst>
                        <p:cond delay="0"/>
                      </p:stCondLst>
                      <p:childTnLst>
                        <p:par>
                          <p:cTn id="18" fill="hold">
                            <p:stCondLst>
                              <p:cond delay="0"/>
                            </p:stCondLst>
                            <p:childTnLst>
                              <p:par>
                                <p:cTn id="19" presetID="30" presetClass="emph" presetSubtype="0" fill="hold" grpId="0" nodeType="clickEffect">
                                  <p:stCondLst>
                                    <p:cond delay="0"/>
                                  </p:stCondLst>
                                  <p:childTnLst>
                                    <p:animClr clrSpc="hsl" dir="cw">
                                      <p:cBhvr override="childStyle">
                                        <p:cTn id="20" dur="500" fill="hold"/>
                                        <p:tgtEl>
                                          <p:spTgt spid="10"/>
                                        </p:tgtEl>
                                        <p:attrNameLst>
                                          <p:attrName>style.color</p:attrName>
                                        </p:attrNameLst>
                                      </p:cBhvr>
                                      <p:by>
                                        <p:hsl h="0" s="12549" l="25098"/>
                                      </p:by>
                                    </p:animClr>
                                    <p:animClr clrSpc="hsl" dir="cw">
                                      <p:cBhvr>
                                        <p:cTn id="21" dur="500" fill="hold"/>
                                        <p:tgtEl>
                                          <p:spTgt spid="10"/>
                                        </p:tgtEl>
                                        <p:attrNameLst>
                                          <p:attrName>fillcolor</p:attrName>
                                        </p:attrNameLst>
                                      </p:cBhvr>
                                      <p:by>
                                        <p:hsl h="0" s="12549" l="25098"/>
                                      </p:by>
                                    </p:animClr>
                                    <p:animClr clrSpc="hsl" dir="cw">
                                      <p:cBhvr>
                                        <p:cTn id="22" dur="500" fill="hold"/>
                                        <p:tgtEl>
                                          <p:spTgt spid="10"/>
                                        </p:tgtEl>
                                        <p:attrNameLst>
                                          <p:attrName>stroke.color</p:attrName>
                                        </p:attrNameLst>
                                      </p:cBhvr>
                                      <p:by>
                                        <p:hsl h="0" s="12549" l="25098"/>
                                      </p:by>
                                    </p:animClr>
                                    <p:set>
                                      <p:cBhvr>
                                        <p:cTn id="23" dur="500" fill="hold"/>
                                        <p:tgtEl>
                                          <p:spTgt spid="10"/>
                                        </p:tgtEl>
                                        <p:attrNameLst>
                                          <p:attrName>fill.type</p:attrName>
                                        </p:attrNameLst>
                                      </p:cBhvr>
                                      <p:to>
                                        <p:strVal val="solid"/>
                                      </p:to>
                                    </p:set>
                                  </p:childTnLst>
                                  <p:subTnLst>
                                    <p:audio>
                                      <p:cMediaNode>
                                        <p:cTn display="0" masterRel="sameClick">
                                          <p:stCondLst>
                                            <p:cond evt="begin" delay="0">
                                              <p:tn val="19"/>
                                            </p:cond>
                                          </p:stCondLst>
                                          <p:endCondLst>
                                            <p:cond evt="onStopAudio" delay="0">
                                              <p:tgtEl>
                                                <p:sldTgt/>
                                              </p:tgtEl>
                                            </p:cond>
                                          </p:endCondLst>
                                        </p:cTn>
                                        <p:tgtEl>
                                          <p:sndTgt r:embed="rId10" name="applause.wav"/>
                                        </p:tgtEl>
                                      </p:cMediaNode>
                                    </p:audio>
                                    <p:animClr clrSpc="rgb" dir="cw">
                                      <p:cBhvr override="childStyle">
                                        <p:cTn dur="1" fill="hold" display="0" masterRel="nextClick" afterEffect="1"/>
                                        <p:tgtEl>
                                          <p:spTgt spid="10"/>
                                        </p:tgtEl>
                                        <p:attrNameLst>
                                          <p:attrName>ppt_c</p:attrName>
                                        </p:attrNameLst>
                                      </p:cBhvr>
                                      <p:to>
                                        <a:schemeClr val="accent2"/>
                                      </p:to>
                                    </p:animClr>
                                  </p:subTnLst>
                                </p:cTn>
                              </p:par>
                            </p:childTnLst>
                          </p:cTn>
                        </p:par>
                      </p:childTnLst>
                    </p:cTn>
                  </p:par>
                </p:childTnLst>
              </p:cTn>
              <p:nextCondLst>
                <p:cond evt="onClick" delay="0">
                  <p:tgtEl>
                    <p:spTgt spid="10"/>
                  </p:tgtEl>
                </p:cond>
              </p:nextCondLst>
            </p:seq>
            <p:seq concurrent="1" nextAc="seek">
              <p:cTn id="24" restart="whenNotActive" fill="hold" evtFilter="cancelBubble" nodeType="interactiveSeq">
                <p:stCondLst>
                  <p:cond evt="onClick" delay="0">
                    <p:tgtEl>
                      <p:spTgt spid="11"/>
                    </p:tgtEl>
                  </p:cond>
                </p:stCondLst>
                <p:endSync evt="end" delay="0">
                  <p:rtn val="all"/>
                </p:endSync>
                <p:childTnLst>
                  <p:par>
                    <p:cTn id="25" fill="hold">
                      <p:stCondLst>
                        <p:cond delay="0"/>
                      </p:stCondLst>
                      <p:childTnLst>
                        <p:par>
                          <p:cTn id="26" fill="hold">
                            <p:stCondLst>
                              <p:cond delay="0"/>
                            </p:stCondLst>
                            <p:childTnLst>
                              <p:par>
                                <p:cTn id="27" presetID="26" presetClass="emph" presetSubtype="0" fill="hold" grpId="0" nodeType="clickEffect">
                                  <p:stCondLst>
                                    <p:cond delay="0"/>
                                  </p:stCondLst>
                                  <p:childTnLst>
                                    <p:animEffect transition="out" filter="fade">
                                      <p:cBhvr>
                                        <p:cTn id="28" dur="500" tmFilter="0, 0; .2, .5; .8, .5; 1, 0"/>
                                        <p:tgtEl>
                                          <p:spTgt spid="11"/>
                                        </p:tgtEl>
                                      </p:cBhvr>
                                    </p:animEffect>
                                    <p:animScale>
                                      <p:cBhvr>
                                        <p:cTn id="29" dur="250" autoRev="1" fill="hold"/>
                                        <p:tgtEl>
                                          <p:spTgt spid="11"/>
                                        </p:tgtEl>
                                      </p:cBhvr>
                                      <p:by x="105000" y="105000"/>
                                    </p:animScale>
                                  </p:childTnLst>
                                  <p:subTnLst>
                                    <p:audio>
                                      <p:cMediaNode>
                                        <p:cTn display="0" masterRel="sameClick">
                                          <p:stCondLst>
                                            <p:cond evt="begin" delay="0">
                                              <p:tn val="27"/>
                                            </p:cond>
                                          </p:stCondLst>
                                          <p:endCondLst>
                                            <p:cond evt="onStopAudio" delay="0">
                                              <p:tgtEl>
                                                <p:sldTgt/>
                                              </p:tgtEl>
                                            </p:cond>
                                          </p:endCondLst>
                                        </p:cTn>
                                        <p:tgtEl>
                                          <p:sndTgt r:embed="rId9" name="bomb.wav"/>
                                        </p:tgtEl>
                                      </p:cMediaNode>
                                    </p:audio>
                                  </p:subTnLst>
                                </p:cTn>
                              </p:par>
                            </p:childTnLst>
                          </p:cTn>
                        </p:par>
                      </p:childTnLst>
                    </p:cTn>
                  </p:par>
                </p:childTnLst>
              </p:cTn>
              <p:nextCondLst>
                <p:cond evt="onClick" delay="0">
                  <p:tgtEl>
                    <p:spTgt spid="11"/>
                  </p:tgtEl>
                </p:cond>
              </p:nextCondLst>
            </p:seq>
            <p:seq concurrent="1" nextAc="seek">
              <p:cTn id="30" restart="whenNotActive" fill="hold" evtFilter="cancelBubble" nodeType="interactiveSeq">
                <p:stCondLst>
                  <p:cond evt="onClick" delay="0">
                    <p:tgtEl>
                      <p:spTgt spid="12"/>
                    </p:tgtEl>
                  </p:cond>
                </p:stCondLst>
                <p:endSync evt="end" delay="0">
                  <p:rtn val="all"/>
                </p:endSync>
                <p:childTnLst>
                  <p:par>
                    <p:cTn id="31" fill="hold">
                      <p:stCondLst>
                        <p:cond delay="0"/>
                      </p:stCondLst>
                      <p:childTnLst>
                        <p:par>
                          <p:cTn id="32" fill="hold">
                            <p:stCondLst>
                              <p:cond delay="0"/>
                            </p:stCondLst>
                            <p:childTnLst>
                              <p:par>
                                <p:cTn id="33" presetID="26" presetClass="emph" presetSubtype="0" fill="hold" grpId="0" nodeType="clickEffect">
                                  <p:stCondLst>
                                    <p:cond delay="0"/>
                                  </p:stCondLst>
                                  <p:childTnLst>
                                    <p:animEffect transition="out" filter="fade">
                                      <p:cBhvr>
                                        <p:cTn id="34" dur="500" tmFilter="0, 0; .2, .5; .8, .5; 1, 0"/>
                                        <p:tgtEl>
                                          <p:spTgt spid="12"/>
                                        </p:tgtEl>
                                      </p:cBhvr>
                                    </p:animEffect>
                                    <p:animScale>
                                      <p:cBhvr>
                                        <p:cTn id="35" dur="250" autoRev="1" fill="hold"/>
                                        <p:tgtEl>
                                          <p:spTgt spid="12"/>
                                        </p:tgtEl>
                                      </p:cBhvr>
                                      <p:by x="105000" y="105000"/>
                                    </p:animScale>
                                  </p:childTnLst>
                                  <p:subTnLst>
                                    <p:audio>
                                      <p:cMediaNode>
                                        <p:cTn display="0" masterRel="sameClick">
                                          <p:stCondLst>
                                            <p:cond evt="begin" delay="0">
                                              <p:tn val="33"/>
                                            </p:cond>
                                          </p:stCondLst>
                                          <p:endCondLst>
                                            <p:cond evt="onStopAudio" delay="0">
                                              <p:tgtEl>
                                                <p:sldTgt/>
                                              </p:tgtEl>
                                            </p:cond>
                                          </p:endCondLst>
                                        </p:cTn>
                                        <p:tgtEl>
                                          <p:sndTgt r:embed="rId9" name="bomb.wav"/>
                                        </p:tgtEl>
                                      </p:cMediaNode>
                                    </p:audio>
                                  </p:subTnLst>
                                </p:cTn>
                              </p:par>
                            </p:childTnLst>
                          </p:cTn>
                        </p:par>
                      </p:childTnLst>
                    </p:cTn>
                  </p:par>
                </p:childTnLst>
              </p:cTn>
              <p:nextCondLst>
                <p:cond evt="onClick" delay="0">
                  <p:tgtEl>
                    <p:spTgt spid="12"/>
                  </p:tgtEl>
                </p:cond>
              </p:nextCondLst>
            </p:seq>
            <p:seq concurrent="1" nextAc="seek">
              <p:cTn id="36" restart="whenNotActive" fill="hold" evtFilter="cancelBubble" nodeType="interactiveSeq">
                <p:stCondLst>
                  <p:cond evt="onClick" delay="0">
                    <p:tgtEl>
                      <p:spTgt spid="13"/>
                    </p:tgtEl>
                  </p:cond>
                </p:stCondLst>
                <p:endSync evt="end" delay="0">
                  <p:rtn val="all"/>
                </p:endSync>
                <p:childTnLst>
                  <p:par>
                    <p:cTn id="37" fill="hold">
                      <p:stCondLst>
                        <p:cond delay="0"/>
                      </p:stCondLst>
                      <p:childTnLst>
                        <p:par>
                          <p:cTn id="38" fill="hold">
                            <p:stCondLst>
                              <p:cond delay="0"/>
                            </p:stCondLst>
                            <p:childTnLst>
                              <p:par>
                                <p:cTn id="39" presetID="26" presetClass="emph" presetSubtype="0" fill="hold" grpId="0" nodeType="clickEffect">
                                  <p:stCondLst>
                                    <p:cond delay="0"/>
                                  </p:stCondLst>
                                  <p:childTnLst>
                                    <p:animEffect transition="out" filter="fade">
                                      <p:cBhvr>
                                        <p:cTn id="40" dur="500" tmFilter="0, 0; .2, .5; .8, .5; 1, 0"/>
                                        <p:tgtEl>
                                          <p:spTgt spid="13"/>
                                        </p:tgtEl>
                                      </p:cBhvr>
                                    </p:animEffect>
                                    <p:animScale>
                                      <p:cBhvr>
                                        <p:cTn id="41" dur="250" autoRev="1" fill="hold"/>
                                        <p:tgtEl>
                                          <p:spTgt spid="13"/>
                                        </p:tgtEl>
                                      </p:cBhvr>
                                      <p:by x="105000" y="105000"/>
                                    </p:animScale>
                                  </p:childTnLst>
                                  <p:subTnLst>
                                    <p:audio>
                                      <p:cMediaNode>
                                        <p:cTn display="0" masterRel="sameClick">
                                          <p:stCondLst>
                                            <p:cond evt="begin" delay="0">
                                              <p:tn val="39"/>
                                            </p:cond>
                                          </p:stCondLst>
                                          <p:endCondLst>
                                            <p:cond evt="onStopAudio" delay="0">
                                              <p:tgtEl>
                                                <p:sldTgt/>
                                              </p:tgtEl>
                                            </p:cond>
                                          </p:endCondLst>
                                        </p:cTn>
                                        <p:tgtEl>
                                          <p:sndTgt r:embed="rId9" name="bomb.wav"/>
                                        </p:tgtEl>
                                      </p:cMediaNode>
                                    </p:audio>
                                  </p:subTnLst>
                                </p:cTn>
                              </p:par>
                            </p:childTnLst>
                          </p:cTn>
                        </p:par>
                      </p:childTnLst>
                    </p:cTn>
                  </p:par>
                </p:childTnLst>
              </p:cTn>
              <p:nextCondLst>
                <p:cond evt="onClick" delay="0">
                  <p:tgtEl>
                    <p:spTgt spid="13"/>
                  </p:tgtEl>
                </p:cond>
              </p:nextCondLst>
            </p:seq>
            <p:seq concurrent="1" nextAc="seek">
              <p:cTn id="42" restart="whenNotActive" fill="hold" evtFilter="cancelBubble" nodeType="interactiveSeq">
                <p:stCondLst>
                  <p:cond evt="onClick" delay="0">
                    <p:tgtEl>
                      <p:spTgt spid="26"/>
                    </p:tgtEl>
                  </p:cond>
                </p:stCondLst>
                <p:endSync evt="end" delay="0">
                  <p:rtn val="all"/>
                </p:endSync>
                <p:childTnLst>
                  <p:par>
                    <p:cTn id="43" fill="hold">
                      <p:stCondLst>
                        <p:cond delay="0"/>
                      </p:stCondLst>
                      <p:childTnLst>
                        <p:par>
                          <p:cTn id="44" fill="hold">
                            <p:stCondLst>
                              <p:cond delay="0"/>
                            </p:stCondLst>
                            <p:childTnLst>
                              <p:par>
                                <p:cTn id="45" presetID="11" presetClass="entr" presetSubtype="0" fill="hold" grpId="0" nodeType="afterEffect">
                                  <p:stCondLst>
                                    <p:cond delay="0"/>
                                  </p:stCondLst>
                                  <p:childTnLst>
                                    <p:set>
                                      <p:cBhvr>
                                        <p:cTn id="46" dur="1000">
                                          <p:stCondLst>
                                            <p:cond delay="0"/>
                                          </p:stCondLst>
                                        </p:cTn>
                                        <p:tgtEl>
                                          <p:spTgt spid="15"/>
                                        </p:tgtEl>
                                        <p:attrNameLst>
                                          <p:attrName>style.visibility</p:attrName>
                                        </p:attrNameLst>
                                      </p:cBhvr>
                                      <p:to>
                                        <p:strVal val="visible"/>
                                      </p:to>
                                    </p:set>
                                  </p:childTnLst>
                                </p:cTn>
                              </p:par>
                            </p:childTnLst>
                          </p:cTn>
                        </p:par>
                        <p:par>
                          <p:cTn id="47" fill="hold">
                            <p:stCondLst>
                              <p:cond delay="1000"/>
                            </p:stCondLst>
                            <p:childTnLst>
                              <p:par>
                                <p:cTn id="48" presetID="11" presetClass="entr" presetSubtype="0" fill="hold" grpId="0" nodeType="afterEffect">
                                  <p:stCondLst>
                                    <p:cond delay="0"/>
                                  </p:stCondLst>
                                  <p:childTnLst>
                                    <p:set>
                                      <p:cBhvr>
                                        <p:cTn id="49" dur="1000">
                                          <p:stCondLst>
                                            <p:cond delay="0"/>
                                          </p:stCondLst>
                                        </p:cTn>
                                        <p:tgtEl>
                                          <p:spTgt spid="16"/>
                                        </p:tgtEl>
                                        <p:attrNameLst>
                                          <p:attrName>style.visibility</p:attrName>
                                        </p:attrNameLst>
                                      </p:cBhvr>
                                      <p:to>
                                        <p:strVal val="visible"/>
                                      </p:to>
                                    </p:set>
                                  </p:childTnLst>
                                </p:cTn>
                              </p:par>
                            </p:childTnLst>
                          </p:cTn>
                        </p:par>
                        <p:par>
                          <p:cTn id="50" fill="hold">
                            <p:stCondLst>
                              <p:cond delay="2000"/>
                            </p:stCondLst>
                            <p:childTnLst>
                              <p:par>
                                <p:cTn id="51" presetID="11" presetClass="entr" presetSubtype="0" fill="hold" grpId="0" nodeType="afterEffect">
                                  <p:stCondLst>
                                    <p:cond delay="0"/>
                                  </p:stCondLst>
                                  <p:childTnLst>
                                    <p:set>
                                      <p:cBhvr>
                                        <p:cTn id="52" dur="1000">
                                          <p:stCondLst>
                                            <p:cond delay="0"/>
                                          </p:stCondLst>
                                        </p:cTn>
                                        <p:tgtEl>
                                          <p:spTgt spid="17"/>
                                        </p:tgtEl>
                                        <p:attrNameLst>
                                          <p:attrName>style.visibility</p:attrName>
                                        </p:attrNameLst>
                                      </p:cBhvr>
                                      <p:to>
                                        <p:strVal val="visible"/>
                                      </p:to>
                                    </p:set>
                                  </p:childTnLst>
                                </p:cTn>
                              </p:par>
                            </p:childTnLst>
                          </p:cTn>
                        </p:par>
                        <p:par>
                          <p:cTn id="53" fill="hold">
                            <p:stCondLst>
                              <p:cond delay="3000"/>
                            </p:stCondLst>
                            <p:childTnLst>
                              <p:par>
                                <p:cTn id="54" presetID="11" presetClass="entr" presetSubtype="0" fill="hold" grpId="0" nodeType="afterEffect">
                                  <p:stCondLst>
                                    <p:cond delay="0"/>
                                  </p:stCondLst>
                                  <p:childTnLst>
                                    <p:set>
                                      <p:cBhvr>
                                        <p:cTn id="55" dur="1000">
                                          <p:stCondLst>
                                            <p:cond delay="0"/>
                                          </p:stCondLst>
                                        </p:cTn>
                                        <p:tgtEl>
                                          <p:spTgt spid="18"/>
                                        </p:tgtEl>
                                        <p:attrNameLst>
                                          <p:attrName>style.visibility</p:attrName>
                                        </p:attrNameLst>
                                      </p:cBhvr>
                                      <p:to>
                                        <p:strVal val="visible"/>
                                      </p:to>
                                    </p:set>
                                  </p:childTnLst>
                                </p:cTn>
                              </p:par>
                            </p:childTnLst>
                          </p:cTn>
                        </p:par>
                        <p:par>
                          <p:cTn id="56" fill="hold">
                            <p:stCondLst>
                              <p:cond delay="4000"/>
                            </p:stCondLst>
                            <p:childTnLst>
                              <p:par>
                                <p:cTn id="57" presetID="11" presetClass="entr" presetSubtype="0" fill="hold" grpId="0" nodeType="afterEffect">
                                  <p:stCondLst>
                                    <p:cond delay="0"/>
                                  </p:stCondLst>
                                  <p:childTnLst>
                                    <p:set>
                                      <p:cBhvr>
                                        <p:cTn id="58" dur="1000">
                                          <p:stCondLst>
                                            <p:cond delay="0"/>
                                          </p:stCondLst>
                                        </p:cTn>
                                        <p:tgtEl>
                                          <p:spTgt spid="19"/>
                                        </p:tgtEl>
                                        <p:attrNameLst>
                                          <p:attrName>style.visibility</p:attrName>
                                        </p:attrNameLst>
                                      </p:cBhvr>
                                      <p:to>
                                        <p:strVal val="visible"/>
                                      </p:to>
                                    </p:set>
                                  </p:childTnLst>
                                </p:cTn>
                              </p:par>
                            </p:childTnLst>
                          </p:cTn>
                        </p:par>
                        <p:par>
                          <p:cTn id="59" fill="hold">
                            <p:stCondLst>
                              <p:cond delay="5000"/>
                            </p:stCondLst>
                            <p:childTnLst>
                              <p:par>
                                <p:cTn id="60" presetID="11" presetClass="entr" presetSubtype="0" fill="hold" grpId="0" nodeType="afterEffect">
                                  <p:stCondLst>
                                    <p:cond delay="0"/>
                                  </p:stCondLst>
                                  <p:childTnLst>
                                    <p:set>
                                      <p:cBhvr>
                                        <p:cTn id="61" dur="1000">
                                          <p:stCondLst>
                                            <p:cond delay="0"/>
                                          </p:stCondLst>
                                        </p:cTn>
                                        <p:tgtEl>
                                          <p:spTgt spid="20"/>
                                        </p:tgtEl>
                                        <p:attrNameLst>
                                          <p:attrName>style.visibility</p:attrName>
                                        </p:attrNameLst>
                                      </p:cBhvr>
                                      <p:to>
                                        <p:strVal val="visible"/>
                                      </p:to>
                                    </p:set>
                                  </p:childTnLst>
                                </p:cTn>
                              </p:par>
                            </p:childTnLst>
                          </p:cTn>
                        </p:par>
                        <p:par>
                          <p:cTn id="62" fill="hold">
                            <p:stCondLst>
                              <p:cond delay="6000"/>
                            </p:stCondLst>
                            <p:childTnLst>
                              <p:par>
                                <p:cTn id="63" presetID="11" presetClass="entr" presetSubtype="0" fill="hold" grpId="0" nodeType="afterEffect">
                                  <p:stCondLst>
                                    <p:cond delay="0"/>
                                  </p:stCondLst>
                                  <p:childTnLst>
                                    <p:set>
                                      <p:cBhvr>
                                        <p:cTn id="64" dur="1000">
                                          <p:stCondLst>
                                            <p:cond delay="0"/>
                                          </p:stCondLst>
                                        </p:cTn>
                                        <p:tgtEl>
                                          <p:spTgt spid="21"/>
                                        </p:tgtEl>
                                        <p:attrNameLst>
                                          <p:attrName>style.visibility</p:attrName>
                                        </p:attrNameLst>
                                      </p:cBhvr>
                                      <p:to>
                                        <p:strVal val="visible"/>
                                      </p:to>
                                    </p:set>
                                  </p:childTnLst>
                                </p:cTn>
                              </p:par>
                            </p:childTnLst>
                          </p:cTn>
                        </p:par>
                        <p:par>
                          <p:cTn id="65" fill="hold">
                            <p:stCondLst>
                              <p:cond delay="7000"/>
                            </p:stCondLst>
                            <p:childTnLst>
                              <p:par>
                                <p:cTn id="66" presetID="11" presetClass="entr" presetSubtype="0" fill="hold" grpId="0" nodeType="afterEffect">
                                  <p:stCondLst>
                                    <p:cond delay="0"/>
                                  </p:stCondLst>
                                  <p:childTnLst>
                                    <p:set>
                                      <p:cBhvr>
                                        <p:cTn id="67" dur="1000">
                                          <p:stCondLst>
                                            <p:cond delay="0"/>
                                          </p:stCondLst>
                                        </p:cTn>
                                        <p:tgtEl>
                                          <p:spTgt spid="22"/>
                                        </p:tgtEl>
                                        <p:attrNameLst>
                                          <p:attrName>style.visibility</p:attrName>
                                        </p:attrNameLst>
                                      </p:cBhvr>
                                      <p:to>
                                        <p:strVal val="visible"/>
                                      </p:to>
                                    </p:set>
                                  </p:childTnLst>
                                </p:cTn>
                              </p:par>
                            </p:childTnLst>
                          </p:cTn>
                        </p:par>
                        <p:par>
                          <p:cTn id="68" fill="hold">
                            <p:stCondLst>
                              <p:cond delay="8000"/>
                            </p:stCondLst>
                            <p:childTnLst>
                              <p:par>
                                <p:cTn id="69" presetID="11" presetClass="entr" presetSubtype="0" fill="hold" grpId="0" nodeType="afterEffect">
                                  <p:stCondLst>
                                    <p:cond delay="0"/>
                                  </p:stCondLst>
                                  <p:childTnLst>
                                    <p:set>
                                      <p:cBhvr>
                                        <p:cTn id="70" dur="1000">
                                          <p:stCondLst>
                                            <p:cond delay="0"/>
                                          </p:stCondLst>
                                        </p:cTn>
                                        <p:tgtEl>
                                          <p:spTgt spid="23"/>
                                        </p:tgtEl>
                                        <p:attrNameLst>
                                          <p:attrName>style.visibility</p:attrName>
                                        </p:attrNameLst>
                                      </p:cBhvr>
                                      <p:to>
                                        <p:strVal val="visible"/>
                                      </p:to>
                                    </p:set>
                                  </p:childTnLst>
                                </p:cTn>
                              </p:par>
                            </p:childTnLst>
                          </p:cTn>
                        </p:par>
                        <p:par>
                          <p:cTn id="71" fill="hold">
                            <p:stCondLst>
                              <p:cond delay="9000"/>
                            </p:stCondLst>
                            <p:childTnLst>
                              <p:par>
                                <p:cTn id="72" presetID="11" presetClass="entr" presetSubtype="0" fill="hold" grpId="0" nodeType="afterEffect">
                                  <p:stCondLst>
                                    <p:cond delay="0"/>
                                  </p:stCondLst>
                                  <p:childTnLst>
                                    <p:set>
                                      <p:cBhvr>
                                        <p:cTn id="73" dur="1000">
                                          <p:stCondLst>
                                            <p:cond delay="0"/>
                                          </p:stCondLst>
                                        </p:cTn>
                                        <p:tgtEl>
                                          <p:spTgt spid="24"/>
                                        </p:tgtEl>
                                        <p:attrNameLst>
                                          <p:attrName>style.visibility</p:attrName>
                                        </p:attrNameLst>
                                      </p:cBhvr>
                                      <p:to>
                                        <p:strVal val="visible"/>
                                      </p:to>
                                    </p:set>
                                  </p:childTnLst>
                                </p:cTn>
                              </p:par>
                            </p:childTnLst>
                          </p:cTn>
                        </p:par>
                        <p:par>
                          <p:cTn id="74" fill="hold">
                            <p:stCondLst>
                              <p:cond delay="10000"/>
                            </p:stCondLst>
                            <p:childTnLst>
                              <p:par>
                                <p:cTn id="75" presetID="11" presetClass="entr" presetSubtype="0" fill="hold" grpId="0" nodeType="afterEffect">
                                  <p:stCondLst>
                                    <p:cond delay="0"/>
                                  </p:stCondLst>
                                  <p:childTnLst>
                                    <p:set>
                                      <p:cBhvr>
                                        <p:cTn id="76" dur="1000">
                                          <p:stCondLst>
                                            <p:cond delay="0"/>
                                          </p:stCondLst>
                                        </p:cTn>
                                        <p:tgtEl>
                                          <p:spTgt spid="25"/>
                                        </p:tgtEl>
                                        <p:attrNameLst>
                                          <p:attrName>style.visibility</p:attrName>
                                        </p:attrNameLst>
                                      </p:cBhvr>
                                      <p:to>
                                        <p:strVal val="visible"/>
                                      </p:to>
                                    </p:set>
                                  </p:childTnLst>
                                </p:cTn>
                              </p:par>
                            </p:childTnLst>
                          </p:cTn>
                        </p:par>
                      </p:childTnLst>
                    </p:cTn>
                  </p:par>
                </p:childTnLst>
              </p:cTn>
              <p:nextCondLst>
                <p:cond evt="onClick" delay="0">
                  <p:tgtEl>
                    <p:spTgt spid="26"/>
                  </p:tgtEl>
                </p:cond>
              </p:nextCondLst>
            </p:seq>
          </p:childTnLst>
        </p:cTn>
      </p:par>
    </p:tnLst>
    <p:bldLst>
      <p:bldP spid="10" grpId="0" bldLvl="0" animBg="1"/>
      <p:bldP spid="10" grpId="1" bldLvl="0" animBg="1"/>
      <p:bldP spid="11" grpId="0" bldLvl="0" animBg="1"/>
      <p:bldP spid="11" grpId="1" bldLvl="0" animBg="1"/>
      <p:bldP spid="12" grpId="0" bldLvl="0" animBg="1"/>
      <p:bldP spid="12" grpId="1" bldLvl="0" animBg="1"/>
      <p:bldP spid="13" grpId="0" bldLvl="0" animBg="1"/>
      <p:bldP spid="13" grpId="1" bldLvl="0" animBg="1"/>
      <p:bldP spid="15" grpId="0" bldLvl="0" animBg="1"/>
      <p:bldP spid="16" grpId="0" bldLvl="0" animBg="1"/>
      <p:bldP spid="17" grpId="0" bldLvl="0" animBg="1"/>
      <p:bldP spid="18" grpId="0" bldLvl="0" animBg="1"/>
      <p:bldP spid="19" grpId="0" bldLvl="0" animBg="1"/>
      <p:bldP spid="20" grpId="0" bldLvl="0" animBg="1"/>
      <p:bldP spid="21" grpId="0" bldLvl="0" animBg="1"/>
      <p:bldP spid="22" grpId="0" bldLvl="0" animBg="1"/>
      <p:bldP spid="23" grpId="0" bldLvl="0" animBg="1"/>
      <p:bldP spid="24" grpId="0" bldLvl="0" animBg="1"/>
      <p:bldP spid="25" grpId="0" bldLvl="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Ảnh tết - Tổng hợp hình ảnh tết đẹp nhất"/>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71438" y="-4356"/>
            <a:ext cx="18216563" cy="1029135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ame 5"/>
          <p:cNvSpPr/>
          <p:nvPr/>
        </p:nvSpPr>
        <p:spPr>
          <a:xfrm>
            <a:off x="0" y="0"/>
            <a:ext cx="18288000" cy="10287000"/>
          </a:xfrm>
          <a:prstGeom prst="frame">
            <a:avLst>
              <a:gd name="adj1" fmla="val 6510"/>
            </a:avLst>
          </a:prstGeom>
          <a:blipFill>
            <a:blip r:embed="rId1"/>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sp>
        <p:nvSpPr>
          <p:cNvPr id="9" name="Rectangle 8"/>
          <p:cNvSpPr/>
          <p:nvPr/>
        </p:nvSpPr>
        <p:spPr>
          <a:xfrm>
            <a:off x="996694" y="977787"/>
            <a:ext cx="9056681" cy="5123180"/>
          </a:xfrm>
          <a:prstGeom prst="rect">
            <a:avLst/>
          </a:prstGeom>
          <a:noFill/>
        </p:spPr>
        <p:txBody>
          <a:bodyPr wrap="square" lIns="137160" tIns="68580" rIns="137160" bIns="68580">
            <a:spAutoFit/>
          </a:bodyPr>
          <a:lstStyle/>
          <a:p>
            <a:pPr algn="ct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Vận</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dụng</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Vẽ</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sơ</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đồ</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bộ</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máy</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nhà</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nước</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Văn</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Lang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theo</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gợi</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ý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sau</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a:t>
            </a:r>
            <a:endPar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endParaRPr>
          </a:p>
        </p:txBody>
      </p:sp>
      <p:graphicFrame>
        <p:nvGraphicFramePr>
          <p:cNvPr id="16" name="Diagram 15"/>
          <p:cNvGraphicFramePr/>
          <p:nvPr/>
        </p:nvGraphicFramePr>
        <p:xfrm>
          <a:off x="8938007" y="1205802"/>
          <a:ext cx="8517653" cy="71877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ame 5"/>
          <p:cNvSpPr/>
          <p:nvPr/>
        </p:nvSpPr>
        <p:spPr>
          <a:xfrm>
            <a:off x="0" y="0"/>
            <a:ext cx="18288000" cy="10287000"/>
          </a:xfrm>
          <a:prstGeom prst="frame">
            <a:avLst>
              <a:gd name="adj1" fmla="val 6510"/>
            </a:avLst>
          </a:prstGeom>
          <a:blipFill>
            <a:blip r:embed="rId1"/>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sp>
        <p:nvSpPr>
          <p:cNvPr id="9" name="Rectangle 8"/>
          <p:cNvSpPr/>
          <p:nvPr/>
        </p:nvSpPr>
        <p:spPr>
          <a:xfrm>
            <a:off x="996694" y="977787"/>
            <a:ext cx="9056681" cy="5123180"/>
          </a:xfrm>
          <a:prstGeom prst="rect">
            <a:avLst/>
          </a:prstGeom>
          <a:noFill/>
        </p:spPr>
        <p:txBody>
          <a:bodyPr wrap="square" lIns="137160" tIns="68580" rIns="137160" bIns="68580">
            <a:spAutoFit/>
          </a:bodyPr>
          <a:lstStyle/>
          <a:p>
            <a:pPr algn="ct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Vận</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dụng</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Vẽ</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sơ</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đồ</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bộ</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máy</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nhà</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nước</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Văn</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Lang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theo</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gợi</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 ý </a:t>
            </a:r>
            <a:r>
              <a:rPr lang="en-US" sz="8100" b="1" cap="none" spc="0" dirty="0" err="1">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sau</a:t>
            </a:r>
            <a:r>
              <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a:t>
            </a:r>
            <a:endParaRPr lang="en-US" sz="81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endParaRPr>
          </a:p>
        </p:txBody>
      </p:sp>
      <p:graphicFrame>
        <p:nvGraphicFramePr>
          <p:cNvPr id="16" name="Diagram 15"/>
          <p:cNvGraphicFramePr/>
          <p:nvPr/>
        </p:nvGraphicFramePr>
        <p:xfrm>
          <a:off x="8938007" y="1205802"/>
          <a:ext cx="8517653" cy="71877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F6F6F6"/>
        </a:solidFill>
        <a:effectLst/>
      </p:bgPr>
    </p:bg>
    <p:spTree>
      <p:nvGrpSpPr>
        <p:cNvPr id="1" name=""/>
        <p:cNvGrpSpPr/>
        <p:nvPr/>
      </p:nvGrpSpPr>
      <p:grpSpPr>
        <a:xfrm>
          <a:off x="0" y="0"/>
          <a:ext cx="0" cy="0"/>
          <a:chOff x="0" y="0"/>
          <a:chExt cx="0" cy="0"/>
        </a:xfrm>
      </p:grpSpPr>
      <p:grpSp>
        <p:nvGrpSpPr>
          <p:cNvPr id="2" name="Group 2"/>
          <p:cNvGrpSpPr/>
          <p:nvPr/>
        </p:nvGrpSpPr>
        <p:grpSpPr>
          <a:xfrm>
            <a:off x="0" y="-296304"/>
            <a:ext cx="18288000" cy="3687204"/>
            <a:chOff x="0" y="0"/>
            <a:chExt cx="6186311" cy="1840131"/>
          </a:xfrm>
        </p:grpSpPr>
        <p:sp>
          <p:nvSpPr>
            <p:cNvPr id="3" name="Freeform 3"/>
            <p:cNvSpPr/>
            <p:nvPr/>
          </p:nvSpPr>
          <p:spPr>
            <a:xfrm>
              <a:off x="0" y="0"/>
              <a:ext cx="6186311" cy="1840131"/>
            </a:xfrm>
            <a:custGeom>
              <a:avLst/>
              <a:gdLst/>
              <a:ahLst/>
              <a:cxnLst/>
              <a:rect l="l" t="t" r="r" b="b"/>
              <a:pathLst>
                <a:path w="6186311" h="1840131">
                  <a:moveTo>
                    <a:pt x="6061851" y="1840131"/>
                  </a:moveTo>
                  <a:lnTo>
                    <a:pt x="124460" y="1840131"/>
                  </a:lnTo>
                  <a:cubicBezTo>
                    <a:pt x="55880" y="1840131"/>
                    <a:pt x="0" y="1784251"/>
                    <a:pt x="0" y="1715671"/>
                  </a:cubicBezTo>
                  <a:lnTo>
                    <a:pt x="0" y="124460"/>
                  </a:lnTo>
                  <a:cubicBezTo>
                    <a:pt x="0" y="55880"/>
                    <a:pt x="55880" y="0"/>
                    <a:pt x="124460" y="0"/>
                  </a:cubicBezTo>
                  <a:lnTo>
                    <a:pt x="6061851" y="0"/>
                  </a:lnTo>
                  <a:cubicBezTo>
                    <a:pt x="6130431" y="0"/>
                    <a:pt x="6186311" y="55880"/>
                    <a:pt x="6186311" y="124460"/>
                  </a:cubicBezTo>
                  <a:lnTo>
                    <a:pt x="6186311" y="1715671"/>
                  </a:lnTo>
                  <a:cubicBezTo>
                    <a:pt x="6186311" y="1784251"/>
                    <a:pt x="6130431" y="1840131"/>
                    <a:pt x="6061851" y="1840131"/>
                  </a:cubicBezTo>
                  <a:close/>
                </a:path>
              </a:pathLst>
            </a:custGeom>
            <a:solidFill>
              <a:srgbClr val="F6D8B6"/>
            </a:solidFill>
          </p:spPr>
        </p:sp>
      </p:grpSp>
      <p:sp>
        <p:nvSpPr>
          <p:cNvPr id="16" name="TextBox 16"/>
          <p:cNvSpPr txBox="1"/>
          <p:nvPr/>
        </p:nvSpPr>
        <p:spPr>
          <a:xfrm>
            <a:off x="0" y="800100"/>
            <a:ext cx="18288000" cy="2128788"/>
          </a:xfrm>
          <a:prstGeom prst="rect">
            <a:avLst/>
          </a:prstGeom>
        </p:spPr>
        <p:txBody>
          <a:bodyPr wrap="square" lIns="0" tIns="0" rIns="0" bIns="0" rtlCol="0" anchor="t">
            <a:spAutoFit/>
          </a:bodyPr>
          <a:lstStyle/>
          <a:p>
            <a:pPr algn="ctr">
              <a:lnSpc>
                <a:spcPts val="8320"/>
              </a:lnSpc>
            </a:pPr>
            <a:r>
              <a:rPr lang="en-US" sz="6000" b="1" dirty="0" smtClean="0">
                <a:solidFill>
                  <a:srgbClr val="E45F14"/>
                </a:solidFill>
                <a:latin typeface="Arial" panose="020B0604020202020204" pitchFamily="34" charset="0"/>
                <a:ea typeface="Roboto Bold" panose="02000000000000000000" charset="0"/>
                <a:cs typeface="Arial" panose="020B0604020202020204" pitchFamily="34" charset="0"/>
              </a:rPr>
              <a:t>3. ĐỜI SỐNG VẬT CHẤT VÀ TINH THẦN</a:t>
            </a:r>
            <a:endParaRPr lang="en-US" sz="6000" b="1" dirty="0" smtClean="0">
              <a:solidFill>
                <a:srgbClr val="E45F14"/>
              </a:solidFill>
              <a:latin typeface="Arial" panose="020B0604020202020204" pitchFamily="34" charset="0"/>
              <a:ea typeface="Roboto Bold" panose="02000000000000000000" charset="0"/>
              <a:cs typeface="Arial" panose="020B0604020202020204" pitchFamily="34" charset="0"/>
            </a:endParaRPr>
          </a:p>
          <a:p>
            <a:pPr algn="ctr">
              <a:lnSpc>
                <a:spcPts val="8320"/>
              </a:lnSpc>
            </a:pPr>
            <a:r>
              <a:rPr lang="en-US" sz="6000" b="1" dirty="0" smtClean="0">
                <a:solidFill>
                  <a:srgbClr val="E45F14"/>
                </a:solidFill>
                <a:latin typeface="Arial" panose="020B0604020202020204" pitchFamily="34" charset="0"/>
                <a:ea typeface="Roboto Bold" panose="02000000000000000000" charset="0"/>
                <a:cs typeface="Arial" panose="020B0604020202020204" pitchFamily="34" charset="0"/>
              </a:rPr>
              <a:t> CỦA CƯ DÂN VĂN LANG, ÂU LẠC</a:t>
            </a:r>
            <a:endParaRPr lang="en-US" sz="6000" b="1" dirty="0">
              <a:solidFill>
                <a:srgbClr val="E45F14"/>
              </a:solidFill>
              <a:latin typeface="Arial" panose="020B0604020202020204" pitchFamily="34" charset="0"/>
              <a:ea typeface="Roboto Bold" panose="02000000000000000000" charset="0"/>
              <a:cs typeface="Arial" panose="020B0604020202020204" pitchFamily="34" charset="0"/>
            </a:endParaRPr>
          </a:p>
        </p:txBody>
      </p:sp>
      <p:sp>
        <p:nvSpPr>
          <p:cNvPr id="18" name="Rectangle 17"/>
          <p:cNvSpPr/>
          <p:nvPr/>
        </p:nvSpPr>
        <p:spPr>
          <a:xfrm>
            <a:off x="0" y="3709985"/>
            <a:ext cx="18288000" cy="861774"/>
          </a:xfrm>
          <a:prstGeom prst="rect">
            <a:avLst/>
          </a:prstGeom>
        </p:spPr>
        <p:txBody>
          <a:bodyPr wrap="square">
            <a:spAutoFit/>
          </a:bodyPr>
          <a:lstStyle/>
          <a:p>
            <a:pPr algn="ctr"/>
            <a:r>
              <a:rPr lang="fr-FR" sz="5000" dirty="0" smtClean="0">
                <a:solidFill>
                  <a:srgbClr val="000000"/>
                </a:solidFill>
                <a:latin typeface="Arial" panose="020B0604020202020204" pitchFamily="34" charset="0"/>
                <a:cs typeface="Arial" panose="020B0604020202020204" pitchFamily="34" charset="0"/>
              </a:rPr>
              <a:t>Nghe điệu hát ru con </a:t>
            </a:r>
            <a:endParaRPr lang="en-US" sz="5000" dirty="0">
              <a:latin typeface="Arial" panose="020B0604020202020204" pitchFamily="34" charset="0"/>
              <a:cs typeface="Arial" panose="020B0604020202020204" pitchFamily="34" charset="0"/>
            </a:endParaRPr>
          </a:p>
        </p:txBody>
      </p:sp>
      <p:pic>
        <p:nvPicPr>
          <p:cNvPr id="19" name="hat-ru-con-bac-bo-khong-quang-cao">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12877800" y="3977260"/>
            <a:ext cx="406400" cy="406400"/>
          </a:xfrm>
          <a:prstGeom prst="rect">
            <a:avLst/>
          </a:prstGeom>
        </p:spPr>
      </p:pic>
      <p:sp>
        <p:nvSpPr>
          <p:cNvPr id="20" name="Rectangle 19"/>
          <p:cNvSpPr/>
          <p:nvPr/>
        </p:nvSpPr>
        <p:spPr>
          <a:xfrm>
            <a:off x="4648200" y="5205541"/>
            <a:ext cx="12649200" cy="4580741"/>
          </a:xfrm>
          <a:prstGeom prst="rect">
            <a:avLst/>
          </a:prstGeom>
        </p:spPr>
        <p:txBody>
          <a:bodyPr wrap="square">
            <a:spAutoFit/>
          </a:bodyPr>
          <a:lstStyle/>
          <a:p>
            <a:pPr algn="just">
              <a:lnSpc>
                <a:spcPts val="7000"/>
              </a:lnSpc>
            </a:pPr>
            <a:r>
              <a:rPr lang="fr-FR" sz="5000" dirty="0">
                <a:solidFill>
                  <a:srgbClr val="000000"/>
                </a:solidFill>
                <a:latin typeface="Arial" panose="020B0604020202020204" pitchFamily="34" charset="0"/>
                <a:ea typeface="Calibri" panose="020F0502020204030204" charset="0"/>
                <a:cs typeface="Arial" panose="020B0604020202020204" pitchFamily="34" charset="0"/>
              </a:rPr>
              <a:t>Lời hát ru có từ bao đời </a:t>
            </a:r>
            <a:r>
              <a:rPr lang="fr-FR" sz="5000" dirty="0" smtClean="0">
                <a:solidFill>
                  <a:srgbClr val="000000"/>
                </a:solidFill>
                <a:latin typeface="Arial" panose="020B0604020202020204" pitchFamily="34" charset="0"/>
                <a:ea typeface="Calibri" panose="020F0502020204030204" charset="0"/>
                <a:cs typeface="Arial" panose="020B0604020202020204" pitchFamily="34" charset="0"/>
              </a:rPr>
              <a:t>nay. Cha </a:t>
            </a:r>
            <a:r>
              <a:rPr lang="fr-FR" sz="5000" dirty="0">
                <a:solidFill>
                  <a:srgbClr val="000000"/>
                </a:solidFill>
                <a:latin typeface="Arial" panose="020B0604020202020204" pitchFamily="34" charset="0"/>
                <a:ea typeface="Calibri" panose="020F0502020204030204" charset="0"/>
                <a:cs typeface="Arial" panose="020B0604020202020204" pitchFamily="34" charset="0"/>
              </a:rPr>
              <a:t>ông ta đã làm nhà, xây làng, dựng nước, chống giặc ngoại xâm, để lại cho chúng ta một giang sơn gấm vóc, một nền văn hoá phù hợp với điều kiện tự nhiên và lối sống của dân tộc. </a:t>
            </a:r>
            <a:endParaRPr lang="en-US" sz="5000" dirty="0">
              <a:latin typeface="Arial" panose="020B0604020202020204" pitchFamily="34" charset="0"/>
              <a:cs typeface="Arial" panose="020B0604020202020204" pitchFamily="34" charset="0"/>
            </a:endParaRPr>
          </a:p>
        </p:txBody>
      </p:sp>
      <p:pic>
        <p:nvPicPr>
          <p:cNvPr id="22" name="Picture 6"/>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61998"/>
          <a:stretch>
            <a:fillRect/>
          </a:stretch>
        </p:blipFill>
        <p:spPr>
          <a:xfrm>
            <a:off x="304800" y="7734300"/>
            <a:ext cx="3373018" cy="1179266"/>
          </a:xfrm>
          <a:prstGeom prst="rect">
            <a:avLst/>
          </a:prstGeom>
        </p:spPr>
      </p:pic>
      <p:pic>
        <p:nvPicPr>
          <p:cNvPr id="23" name="Picture 4"/>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p:blipFill>
        <p:spPr>
          <a:xfrm>
            <a:off x="914400" y="4571759"/>
            <a:ext cx="3886200" cy="6575478"/>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barn(inVertical)">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barn(inVertical)">
                                      <p:cBhvr>
                                        <p:cTn id="12" dur="500"/>
                                        <p:tgtEl>
                                          <p:spTgt spid="16"/>
                                        </p:tgtEl>
                                      </p:cBhvr>
                                    </p:animEffect>
                                  </p:childTnLst>
                                </p:cTn>
                              </p:par>
                              <p:par>
                                <p:cTn id="13" presetID="16" presetClass="entr" presetSubtype="21" fill="hold" nodeType="with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barn(inVertical)">
                                      <p:cBhvr>
                                        <p:cTn id="15" dur="500"/>
                                        <p:tgtEl>
                                          <p:spTgt spid="2"/>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barn(inVertical)">
                                      <p:cBhvr>
                                        <p:cTn id="18" dur="5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wipe(down)">
                                      <p:cBhvr>
                                        <p:cTn id="2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24" fill="hold" display="0">
                  <p:stCondLst>
                    <p:cond delay="indefinite"/>
                  </p:stCondLst>
                  <p:endCondLst>
                    <p:cond evt="onStopAudio" delay="0">
                      <p:tgtEl>
                        <p:sldTgt/>
                      </p:tgtEl>
                    </p:cond>
                  </p:endCondLst>
                </p:cTn>
                <p:tgtEl>
                  <p:spTgt spid="19"/>
                </p:tgtEl>
              </p:cMediaNode>
            </p:audio>
          </p:childTnLst>
        </p:cTn>
      </p:par>
    </p:tnLst>
    <p:bldLst>
      <p:bldP spid="16" grpId="0"/>
      <p:bldP spid="18" grpId="0"/>
      <p:bldP spid="20" grpId="0"/>
    </p:bld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rotWithShape="1">
          <a:blip r:embed="rId1"/>
          <a:stretch>
            <a:fillRect/>
          </a:stretch>
        </a:blipFill>
        <a:effectLst/>
      </p:bgPr>
    </p:bg>
    <p:spTree>
      <p:nvGrpSpPr>
        <p:cNvPr id="1" name=""/>
        <p:cNvGrpSpPr/>
        <p:nvPr/>
      </p:nvGrpSpPr>
      <p:grpSpPr>
        <a:xfrm>
          <a:off x="0" y="0"/>
          <a:ext cx="0" cy="0"/>
          <a:chOff x="0" y="0"/>
          <a:chExt cx="0" cy="0"/>
        </a:xfrm>
      </p:grpSpPr>
      <p:sp>
        <p:nvSpPr>
          <p:cNvPr id="14" name="Rectangle 13"/>
          <p:cNvSpPr/>
          <p:nvPr/>
        </p:nvSpPr>
        <p:spPr>
          <a:xfrm>
            <a:off x="3664034" y="2249360"/>
            <a:ext cx="10506456" cy="6995160"/>
          </a:xfrm>
          <a:prstGeom prst="rect">
            <a:avLst/>
          </a:prstGeom>
          <a:blipFill>
            <a:blip r:embed="rId2"/>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latin typeface="Times New Roman" panose="02020603050405020304" pitchFamily="18" charset="0"/>
              <a:cs typeface="Times New Roman" panose="02020603050405020304" pitchFamily="18" charset="0"/>
            </a:endParaRPr>
          </a:p>
        </p:txBody>
      </p:sp>
      <p:sp>
        <p:nvSpPr>
          <p:cNvPr id="6" name="Freeform 17"/>
          <p:cNvSpPr/>
          <p:nvPr/>
        </p:nvSpPr>
        <p:spPr>
          <a:xfrm>
            <a:off x="3644309" y="2213916"/>
            <a:ext cx="10545908" cy="7030604"/>
          </a:xfrm>
          <a:custGeom>
            <a:avLst/>
            <a:gdLst>
              <a:gd name="connsiteX0" fmla="*/ 2565627 w 7030605"/>
              <a:gd name="connsiteY0" fmla="*/ 1766182 h 4687069"/>
              <a:gd name="connsiteX1" fmla="*/ 1849773 w 7030605"/>
              <a:gd name="connsiteY1" fmla="*/ 2062699 h 4687069"/>
              <a:gd name="connsiteX2" fmla="*/ 1837664 w 7030605"/>
              <a:gd name="connsiteY2" fmla="*/ 2077374 h 4687069"/>
              <a:gd name="connsiteX3" fmla="*/ 1831215 w 7030605"/>
              <a:gd name="connsiteY3" fmla="*/ 2069557 h 4687069"/>
              <a:gd name="connsiteX4" fmla="*/ 1115360 w 7030605"/>
              <a:gd name="connsiteY4" fmla="*/ 1773040 h 4687069"/>
              <a:gd name="connsiteX5" fmla="*/ 102989 w 7030605"/>
              <a:gd name="connsiteY5" fmla="*/ 2785411 h 4687069"/>
              <a:gd name="connsiteX6" fmla="*/ 1115360 w 7030605"/>
              <a:gd name="connsiteY6" fmla="*/ 3797782 h 4687069"/>
              <a:gd name="connsiteX7" fmla="*/ 1831215 w 7030605"/>
              <a:gd name="connsiteY7" fmla="*/ 3501266 h 4687069"/>
              <a:gd name="connsiteX8" fmla="*/ 1843323 w 7030605"/>
              <a:gd name="connsiteY8" fmla="*/ 3486590 h 4687069"/>
              <a:gd name="connsiteX9" fmla="*/ 1849773 w 7030605"/>
              <a:gd name="connsiteY9" fmla="*/ 3494408 h 4687069"/>
              <a:gd name="connsiteX10" fmla="*/ 2565627 w 7030605"/>
              <a:gd name="connsiteY10" fmla="*/ 3790924 h 4687069"/>
              <a:gd name="connsiteX11" fmla="*/ 3577998 w 7030605"/>
              <a:gd name="connsiteY11" fmla="*/ 2778553 h 4687069"/>
              <a:gd name="connsiteX12" fmla="*/ 2565627 w 7030605"/>
              <a:gd name="connsiteY12" fmla="*/ 1766182 h 4687069"/>
              <a:gd name="connsiteX13" fmla="*/ 0 w 7030605"/>
              <a:gd name="connsiteY13" fmla="*/ 0 h 4687069"/>
              <a:gd name="connsiteX14" fmla="*/ 7030605 w 7030605"/>
              <a:gd name="connsiteY14" fmla="*/ 0 h 4687069"/>
              <a:gd name="connsiteX15" fmla="*/ 7030605 w 7030605"/>
              <a:gd name="connsiteY15" fmla="*/ 4687069 h 4687069"/>
              <a:gd name="connsiteX16" fmla="*/ 0 w 7030605"/>
              <a:gd name="connsiteY16" fmla="*/ 4687069 h 468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030605" h="4687069">
                <a:moveTo>
                  <a:pt x="2565627" y="1766182"/>
                </a:moveTo>
                <a:cubicBezTo>
                  <a:pt x="2286069" y="1766182"/>
                  <a:pt x="2032976" y="1879496"/>
                  <a:pt x="1849773" y="2062699"/>
                </a:cubicBezTo>
                <a:lnTo>
                  <a:pt x="1837664" y="2077374"/>
                </a:lnTo>
                <a:lnTo>
                  <a:pt x="1831215" y="2069557"/>
                </a:lnTo>
                <a:cubicBezTo>
                  <a:pt x="1648011" y="1886354"/>
                  <a:pt x="1394919" y="1773040"/>
                  <a:pt x="1115360" y="1773040"/>
                </a:cubicBezTo>
                <a:cubicBezTo>
                  <a:pt x="556243" y="1773040"/>
                  <a:pt x="102989" y="2226294"/>
                  <a:pt x="102989" y="2785411"/>
                </a:cubicBezTo>
                <a:cubicBezTo>
                  <a:pt x="102989" y="3344528"/>
                  <a:pt x="556243" y="3797782"/>
                  <a:pt x="1115360" y="3797782"/>
                </a:cubicBezTo>
                <a:cubicBezTo>
                  <a:pt x="1394919" y="3797782"/>
                  <a:pt x="1648011" y="3684469"/>
                  <a:pt x="1831215" y="3501266"/>
                </a:cubicBezTo>
                <a:lnTo>
                  <a:pt x="1843323" y="3486590"/>
                </a:lnTo>
                <a:lnTo>
                  <a:pt x="1849773" y="3494408"/>
                </a:lnTo>
                <a:cubicBezTo>
                  <a:pt x="2032976" y="3677611"/>
                  <a:pt x="2286069" y="3790924"/>
                  <a:pt x="2565627" y="3790924"/>
                </a:cubicBezTo>
                <a:cubicBezTo>
                  <a:pt x="3124744" y="3790924"/>
                  <a:pt x="3577998" y="3337670"/>
                  <a:pt x="3577998" y="2778553"/>
                </a:cubicBezTo>
                <a:cubicBezTo>
                  <a:pt x="3577998" y="2219436"/>
                  <a:pt x="3124744" y="1766182"/>
                  <a:pt x="2565627" y="1766182"/>
                </a:cubicBezTo>
                <a:close/>
                <a:moveTo>
                  <a:pt x="0" y="0"/>
                </a:moveTo>
                <a:lnTo>
                  <a:pt x="7030605" y="0"/>
                </a:lnTo>
                <a:lnTo>
                  <a:pt x="7030605" y="4687069"/>
                </a:lnTo>
                <a:lnTo>
                  <a:pt x="0" y="4687069"/>
                </a:lnTo>
                <a:close/>
              </a:path>
            </a:pathLst>
          </a:custGeom>
          <a:solidFill>
            <a:srgbClr val="0F14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solidFill>
                <a:prstClr val="white"/>
              </a:solidFill>
              <a:latin typeface="Times New Roman" panose="02020603050405020304" pitchFamily="18" charset="0"/>
              <a:cs typeface="Times New Roman" panose="02020603050405020304" pitchFamily="18" charset="0"/>
            </a:endParaRPr>
          </a:p>
        </p:txBody>
      </p:sp>
      <p:sp>
        <p:nvSpPr>
          <p:cNvPr id="7" name="Freeform 18"/>
          <p:cNvSpPr/>
          <p:nvPr/>
        </p:nvSpPr>
        <p:spPr>
          <a:xfrm>
            <a:off x="3644309" y="2213916"/>
            <a:ext cx="10545908" cy="7030604"/>
          </a:xfrm>
          <a:custGeom>
            <a:avLst/>
            <a:gdLst>
              <a:gd name="connsiteX0" fmla="*/ 3100105 w 7030605"/>
              <a:gd name="connsiteY0" fmla="*/ 243964 h 4687069"/>
              <a:gd name="connsiteX1" fmla="*/ 2384251 w 7030605"/>
              <a:gd name="connsiteY1" fmla="*/ 540481 h 4687069"/>
              <a:gd name="connsiteX2" fmla="*/ 2372142 w 7030605"/>
              <a:gd name="connsiteY2" fmla="*/ 555156 h 4687069"/>
              <a:gd name="connsiteX3" fmla="*/ 2365693 w 7030605"/>
              <a:gd name="connsiteY3" fmla="*/ 547339 h 4687069"/>
              <a:gd name="connsiteX4" fmla="*/ 1649838 w 7030605"/>
              <a:gd name="connsiteY4" fmla="*/ 250822 h 4687069"/>
              <a:gd name="connsiteX5" fmla="*/ 637467 w 7030605"/>
              <a:gd name="connsiteY5" fmla="*/ 1263193 h 4687069"/>
              <a:gd name="connsiteX6" fmla="*/ 1649838 w 7030605"/>
              <a:gd name="connsiteY6" fmla="*/ 2275564 h 4687069"/>
              <a:gd name="connsiteX7" fmla="*/ 2365693 w 7030605"/>
              <a:gd name="connsiteY7" fmla="*/ 1979048 h 4687069"/>
              <a:gd name="connsiteX8" fmla="*/ 2377801 w 7030605"/>
              <a:gd name="connsiteY8" fmla="*/ 1964372 h 4687069"/>
              <a:gd name="connsiteX9" fmla="*/ 2384251 w 7030605"/>
              <a:gd name="connsiteY9" fmla="*/ 1972190 h 4687069"/>
              <a:gd name="connsiteX10" fmla="*/ 3100105 w 7030605"/>
              <a:gd name="connsiteY10" fmla="*/ 2268706 h 4687069"/>
              <a:gd name="connsiteX11" fmla="*/ 4112476 w 7030605"/>
              <a:gd name="connsiteY11" fmla="*/ 1256335 h 4687069"/>
              <a:gd name="connsiteX12" fmla="*/ 3100105 w 7030605"/>
              <a:gd name="connsiteY12" fmla="*/ 243964 h 4687069"/>
              <a:gd name="connsiteX13" fmla="*/ 0 w 7030605"/>
              <a:gd name="connsiteY13" fmla="*/ 0 h 4687069"/>
              <a:gd name="connsiteX14" fmla="*/ 7030605 w 7030605"/>
              <a:gd name="connsiteY14" fmla="*/ 0 h 4687069"/>
              <a:gd name="connsiteX15" fmla="*/ 7030605 w 7030605"/>
              <a:gd name="connsiteY15" fmla="*/ 4687069 h 4687069"/>
              <a:gd name="connsiteX16" fmla="*/ 0 w 7030605"/>
              <a:gd name="connsiteY16" fmla="*/ 4687069 h 468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030605" h="4687069">
                <a:moveTo>
                  <a:pt x="3100105" y="243964"/>
                </a:moveTo>
                <a:cubicBezTo>
                  <a:pt x="2820547" y="243964"/>
                  <a:pt x="2567454" y="357278"/>
                  <a:pt x="2384251" y="540481"/>
                </a:cubicBezTo>
                <a:lnTo>
                  <a:pt x="2372142" y="555156"/>
                </a:lnTo>
                <a:lnTo>
                  <a:pt x="2365693" y="547339"/>
                </a:lnTo>
                <a:cubicBezTo>
                  <a:pt x="2182489" y="364136"/>
                  <a:pt x="1929397" y="250822"/>
                  <a:pt x="1649838" y="250822"/>
                </a:cubicBezTo>
                <a:cubicBezTo>
                  <a:pt x="1090721" y="250822"/>
                  <a:pt x="637467" y="704076"/>
                  <a:pt x="637467" y="1263193"/>
                </a:cubicBezTo>
                <a:cubicBezTo>
                  <a:pt x="637467" y="1822310"/>
                  <a:pt x="1090721" y="2275564"/>
                  <a:pt x="1649838" y="2275564"/>
                </a:cubicBezTo>
                <a:cubicBezTo>
                  <a:pt x="1929397" y="2275564"/>
                  <a:pt x="2182489" y="2162251"/>
                  <a:pt x="2365693" y="1979048"/>
                </a:cubicBezTo>
                <a:lnTo>
                  <a:pt x="2377801" y="1964372"/>
                </a:lnTo>
                <a:lnTo>
                  <a:pt x="2384251" y="1972190"/>
                </a:lnTo>
                <a:cubicBezTo>
                  <a:pt x="2567454" y="2155393"/>
                  <a:pt x="2820547" y="2268706"/>
                  <a:pt x="3100105" y="2268706"/>
                </a:cubicBezTo>
                <a:cubicBezTo>
                  <a:pt x="3659222" y="2268706"/>
                  <a:pt x="4112476" y="1815452"/>
                  <a:pt x="4112476" y="1256335"/>
                </a:cubicBezTo>
                <a:cubicBezTo>
                  <a:pt x="4112476" y="697218"/>
                  <a:pt x="3659222" y="243964"/>
                  <a:pt x="3100105" y="243964"/>
                </a:cubicBezTo>
                <a:close/>
                <a:moveTo>
                  <a:pt x="0" y="0"/>
                </a:moveTo>
                <a:lnTo>
                  <a:pt x="7030605" y="0"/>
                </a:lnTo>
                <a:lnTo>
                  <a:pt x="7030605" y="4687069"/>
                </a:lnTo>
                <a:lnTo>
                  <a:pt x="0" y="4687069"/>
                </a:lnTo>
                <a:close/>
              </a:path>
            </a:pathLst>
          </a:custGeom>
          <a:solidFill>
            <a:srgbClr val="0F14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solidFill>
                <a:prstClr val="white"/>
              </a:solidFill>
              <a:latin typeface="Times New Roman" panose="02020603050405020304" pitchFamily="18" charset="0"/>
              <a:cs typeface="Times New Roman" panose="02020603050405020304" pitchFamily="18" charset="0"/>
            </a:endParaRPr>
          </a:p>
        </p:txBody>
      </p:sp>
      <p:sp>
        <p:nvSpPr>
          <p:cNvPr id="8" name="Freeform 19"/>
          <p:cNvSpPr/>
          <p:nvPr/>
        </p:nvSpPr>
        <p:spPr>
          <a:xfrm>
            <a:off x="3644309" y="2213916"/>
            <a:ext cx="10545908" cy="7030604"/>
          </a:xfrm>
          <a:custGeom>
            <a:avLst/>
            <a:gdLst>
              <a:gd name="connsiteX0" fmla="*/ 5977940 w 7030605"/>
              <a:gd name="connsiteY0" fmla="*/ 2461641 h 4687069"/>
              <a:gd name="connsiteX1" fmla="*/ 5262086 w 7030605"/>
              <a:gd name="connsiteY1" fmla="*/ 2758158 h 4687069"/>
              <a:gd name="connsiteX2" fmla="*/ 5249977 w 7030605"/>
              <a:gd name="connsiteY2" fmla="*/ 2772833 h 4687069"/>
              <a:gd name="connsiteX3" fmla="*/ 5243528 w 7030605"/>
              <a:gd name="connsiteY3" fmla="*/ 2765016 h 4687069"/>
              <a:gd name="connsiteX4" fmla="*/ 4527673 w 7030605"/>
              <a:gd name="connsiteY4" fmla="*/ 2468499 h 4687069"/>
              <a:gd name="connsiteX5" fmla="*/ 3515302 w 7030605"/>
              <a:gd name="connsiteY5" fmla="*/ 3480870 h 4687069"/>
              <a:gd name="connsiteX6" fmla="*/ 4527673 w 7030605"/>
              <a:gd name="connsiteY6" fmla="*/ 4493241 h 4687069"/>
              <a:gd name="connsiteX7" fmla="*/ 5243528 w 7030605"/>
              <a:gd name="connsiteY7" fmla="*/ 4196725 h 4687069"/>
              <a:gd name="connsiteX8" fmla="*/ 5255636 w 7030605"/>
              <a:gd name="connsiteY8" fmla="*/ 4182049 h 4687069"/>
              <a:gd name="connsiteX9" fmla="*/ 5262086 w 7030605"/>
              <a:gd name="connsiteY9" fmla="*/ 4189867 h 4687069"/>
              <a:gd name="connsiteX10" fmla="*/ 5977940 w 7030605"/>
              <a:gd name="connsiteY10" fmla="*/ 4486383 h 4687069"/>
              <a:gd name="connsiteX11" fmla="*/ 6990311 w 7030605"/>
              <a:gd name="connsiteY11" fmla="*/ 3474012 h 4687069"/>
              <a:gd name="connsiteX12" fmla="*/ 5977940 w 7030605"/>
              <a:gd name="connsiteY12" fmla="*/ 2461641 h 4687069"/>
              <a:gd name="connsiteX13" fmla="*/ 0 w 7030605"/>
              <a:gd name="connsiteY13" fmla="*/ 0 h 4687069"/>
              <a:gd name="connsiteX14" fmla="*/ 7030605 w 7030605"/>
              <a:gd name="connsiteY14" fmla="*/ 0 h 4687069"/>
              <a:gd name="connsiteX15" fmla="*/ 7030605 w 7030605"/>
              <a:gd name="connsiteY15" fmla="*/ 4687069 h 4687069"/>
              <a:gd name="connsiteX16" fmla="*/ 0 w 7030605"/>
              <a:gd name="connsiteY16" fmla="*/ 4687069 h 468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030605" h="4687069">
                <a:moveTo>
                  <a:pt x="5977940" y="2461641"/>
                </a:moveTo>
                <a:cubicBezTo>
                  <a:pt x="5698382" y="2461641"/>
                  <a:pt x="5445289" y="2574955"/>
                  <a:pt x="5262086" y="2758158"/>
                </a:cubicBezTo>
                <a:lnTo>
                  <a:pt x="5249977" y="2772833"/>
                </a:lnTo>
                <a:lnTo>
                  <a:pt x="5243528" y="2765016"/>
                </a:lnTo>
                <a:cubicBezTo>
                  <a:pt x="5060324" y="2581813"/>
                  <a:pt x="4807232" y="2468499"/>
                  <a:pt x="4527673" y="2468499"/>
                </a:cubicBezTo>
                <a:cubicBezTo>
                  <a:pt x="3968556" y="2468499"/>
                  <a:pt x="3515302" y="2921753"/>
                  <a:pt x="3515302" y="3480870"/>
                </a:cubicBezTo>
                <a:cubicBezTo>
                  <a:pt x="3515302" y="4039987"/>
                  <a:pt x="3968556" y="4493241"/>
                  <a:pt x="4527673" y="4493241"/>
                </a:cubicBezTo>
                <a:cubicBezTo>
                  <a:pt x="4807232" y="4493241"/>
                  <a:pt x="5060324" y="4379928"/>
                  <a:pt x="5243528" y="4196725"/>
                </a:cubicBezTo>
                <a:lnTo>
                  <a:pt x="5255636" y="4182049"/>
                </a:lnTo>
                <a:lnTo>
                  <a:pt x="5262086" y="4189867"/>
                </a:lnTo>
                <a:cubicBezTo>
                  <a:pt x="5445289" y="4373070"/>
                  <a:pt x="5698382" y="4486383"/>
                  <a:pt x="5977940" y="4486383"/>
                </a:cubicBezTo>
                <a:cubicBezTo>
                  <a:pt x="6537057" y="4486383"/>
                  <a:pt x="6990311" y="4033129"/>
                  <a:pt x="6990311" y="3474012"/>
                </a:cubicBezTo>
                <a:cubicBezTo>
                  <a:pt x="6990311" y="2914895"/>
                  <a:pt x="6537057" y="2461641"/>
                  <a:pt x="5977940" y="2461641"/>
                </a:cubicBezTo>
                <a:close/>
                <a:moveTo>
                  <a:pt x="0" y="0"/>
                </a:moveTo>
                <a:lnTo>
                  <a:pt x="7030605" y="0"/>
                </a:lnTo>
                <a:lnTo>
                  <a:pt x="7030605" y="4687069"/>
                </a:lnTo>
                <a:lnTo>
                  <a:pt x="0" y="4687069"/>
                </a:lnTo>
                <a:close/>
              </a:path>
            </a:pathLst>
          </a:custGeom>
          <a:solidFill>
            <a:srgbClr val="0F14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solidFill>
                <a:prstClr val="white"/>
              </a:solidFill>
              <a:latin typeface="Times New Roman" panose="02020603050405020304" pitchFamily="18" charset="0"/>
              <a:cs typeface="Times New Roman" panose="02020603050405020304" pitchFamily="18" charset="0"/>
            </a:endParaRPr>
          </a:p>
        </p:txBody>
      </p:sp>
      <p:sp>
        <p:nvSpPr>
          <p:cNvPr id="9" name="Rectangle 8"/>
          <p:cNvSpPr/>
          <p:nvPr/>
        </p:nvSpPr>
        <p:spPr>
          <a:xfrm>
            <a:off x="3644309" y="2213916"/>
            <a:ext cx="10545908" cy="7030604"/>
          </a:xfrm>
          <a:prstGeom prst="rect">
            <a:avLst/>
          </a:prstGeom>
          <a:solidFill>
            <a:srgbClr val="0F14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solidFill>
                <a:prstClr val="white"/>
              </a:solidFill>
              <a:latin typeface="Times New Roman" panose="02020603050405020304" pitchFamily="18" charset="0"/>
              <a:cs typeface="Times New Roman" panose="02020603050405020304" pitchFamily="18" charset="0"/>
            </a:endParaRPr>
          </a:p>
        </p:txBody>
      </p:sp>
      <p:sp>
        <p:nvSpPr>
          <p:cNvPr id="10" name="Title 20"/>
          <p:cNvSpPr>
            <a:spLocks noGrp="1"/>
          </p:cNvSpPr>
          <p:nvPr>
            <p:ph type="title"/>
          </p:nvPr>
        </p:nvSpPr>
        <p:spPr>
          <a:xfrm>
            <a:off x="914397" y="718343"/>
            <a:ext cx="16440150" cy="1491459"/>
          </a:xfrm>
        </p:spPr>
        <p:txBody>
          <a:bodyPr/>
          <a:lstStyle/>
          <a:p>
            <a:r>
              <a:rPr lang="en-GB" sz="5400" dirty="0" err="1">
                <a:latin typeface="Times New Roman" panose="02020603050405020304" pitchFamily="18" charset="0"/>
                <a:cs typeface="Times New Roman" panose="02020603050405020304" pitchFamily="18" charset="0"/>
              </a:rPr>
              <a:t>Em</a:t>
            </a:r>
            <a:r>
              <a:rPr lang="en-GB" sz="5400" dirty="0">
                <a:latin typeface="Times New Roman" panose="02020603050405020304" pitchFamily="18" charset="0"/>
                <a:cs typeface="Times New Roman" panose="02020603050405020304" pitchFamily="18" charset="0"/>
              </a:rPr>
              <a:t> </a:t>
            </a:r>
            <a:r>
              <a:rPr lang="en-GB" sz="5400" dirty="0" err="1">
                <a:latin typeface="Times New Roman" panose="02020603050405020304" pitchFamily="18" charset="0"/>
                <a:cs typeface="Times New Roman" panose="02020603050405020304" pitchFamily="18" charset="0"/>
              </a:rPr>
              <a:t>đang</a:t>
            </a:r>
            <a:r>
              <a:rPr lang="en-GB" sz="5400" dirty="0">
                <a:latin typeface="Times New Roman" panose="02020603050405020304" pitchFamily="18" charset="0"/>
                <a:cs typeface="Times New Roman" panose="02020603050405020304" pitchFamily="18" charset="0"/>
              </a:rPr>
              <a:t> </a:t>
            </a:r>
            <a:r>
              <a:rPr lang="en-GB" sz="5400" dirty="0" err="1">
                <a:latin typeface="Times New Roman" panose="02020603050405020304" pitchFamily="18" charset="0"/>
                <a:cs typeface="Times New Roman" panose="02020603050405020304" pitchFamily="18" charset="0"/>
              </a:rPr>
              <a:t>thấy</a:t>
            </a:r>
            <a:r>
              <a:rPr lang="en-GB" sz="5400" dirty="0">
                <a:latin typeface="Times New Roman" panose="02020603050405020304" pitchFamily="18" charset="0"/>
                <a:cs typeface="Times New Roman" panose="02020603050405020304" pitchFamily="18" charset="0"/>
              </a:rPr>
              <a:t> </a:t>
            </a:r>
            <a:r>
              <a:rPr lang="en-GB" sz="5400" dirty="0" err="1">
                <a:latin typeface="Times New Roman" panose="02020603050405020304" pitchFamily="18" charset="0"/>
                <a:cs typeface="Times New Roman" panose="02020603050405020304" pitchFamily="18" charset="0"/>
              </a:rPr>
              <a:t>truyền</a:t>
            </a:r>
            <a:r>
              <a:rPr lang="en-GB" sz="5400" dirty="0">
                <a:latin typeface="Times New Roman" panose="02020603050405020304" pitchFamily="18" charset="0"/>
                <a:cs typeface="Times New Roman" panose="02020603050405020304" pitchFamily="18" charset="0"/>
              </a:rPr>
              <a:t> </a:t>
            </a:r>
            <a:r>
              <a:rPr lang="en-GB" sz="5400" dirty="0" err="1">
                <a:latin typeface="Times New Roman" panose="02020603050405020304" pitchFamily="18" charset="0"/>
                <a:cs typeface="Times New Roman" panose="02020603050405020304" pitchFamily="18" charset="0"/>
              </a:rPr>
              <a:t>thuyết</a:t>
            </a:r>
            <a:r>
              <a:rPr lang="en-GB" sz="5400" dirty="0">
                <a:latin typeface="Times New Roman" panose="02020603050405020304" pitchFamily="18" charset="0"/>
                <a:cs typeface="Times New Roman" panose="02020603050405020304" pitchFamily="18" charset="0"/>
              </a:rPr>
              <a:t> </a:t>
            </a:r>
            <a:r>
              <a:rPr lang="en-GB" sz="5400" dirty="0" err="1">
                <a:latin typeface="Times New Roman" panose="02020603050405020304" pitchFamily="18" charset="0"/>
                <a:cs typeface="Times New Roman" panose="02020603050405020304" pitchFamily="18" charset="0"/>
              </a:rPr>
              <a:t>nào</a:t>
            </a:r>
            <a:r>
              <a:rPr lang="en-GB" sz="5400" dirty="0">
                <a:latin typeface="Times New Roman" panose="02020603050405020304" pitchFamily="18" charset="0"/>
                <a:cs typeface="Times New Roman" panose="02020603050405020304" pitchFamily="18" charset="0"/>
              </a:rPr>
              <a:t>?</a:t>
            </a:r>
            <a:endParaRPr lang="en-GB" sz="5400" dirty="0">
              <a:latin typeface="Times New Roman" panose="02020603050405020304" pitchFamily="18" charset="0"/>
              <a:cs typeface="Times New Roman" panose="02020603050405020304" pitchFamily="18" charset="0"/>
            </a:endParaRPr>
          </a:p>
        </p:txBody>
      </p:sp>
      <p:sp>
        <p:nvSpPr>
          <p:cNvPr id="11" name="Rounded Rectangle 9"/>
          <p:cNvSpPr/>
          <p:nvPr/>
        </p:nvSpPr>
        <p:spPr>
          <a:xfrm>
            <a:off x="6637440" y="8303741"/>
            <a:ext cx="4559643" cy="835497"/>
          </a:xfrm>
          <a:prstGeom prst="roundRect">
            <a:avLst/>
          </a:prstGeom>
          <a:solidFill>
            <a:srgbClr val="0098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00" b="1" dirty="0" err="1">
                <a:solidFill>
                  <a:prstClr val="white"/>
                </a:solidFill>
                <a:latin typeface="Times New Roman" panose="02020603050405020304" pitchFamily="18" charset="0"/>
                <a:cs typeface="Times New Roman" panose="02020603050405020304" pitchFamily="18" charset="0"/>
              </a:rPr>
              <a:t>Đáp</a:t>
            </a:r>
            <a:r>
              <a:rPr lang="en-GB" sz="3600" b="1" dirty="0">
                <a:solidFill>
                  <a:prstClr val="white"/>
                </a:solidFill>
                <a:latin typeface="Times New Roman" panose="02020603050405020304" pitchFamily="18" charset="0"/>
                <a:cs typeface="Times New Roman" panose="02020603050405020304" pitchFamily="18" charset="0"/>
              </a:rPr>
              <a:t> </a:t>
            </a:r>
            <a:r>
              <a:rPr lang="en-GB" sz="3600" b="1" dirty="0" err="1">
                <a:solidFill>
                  <a:prstClr val="white"/>
                </a:solidFill>
                <a:latin typeface="Times New Roman" panose="02020603050405020304" pitchFamily="18" charset="0"/>
                <a:cs typeface="Times New Roman" panose="02020603050405020304" pitchFamily="18" charset="0"/>
              </a:rPr>
              <a:t>án</a:t>
            </a:r>
            <a:endParaRPr lang="en-GB" sz="3600" b="1" dirty="0">
              <a:solidFill>
                <a:prstClr val="white"/>
              </a:solidFill>
              <a:latin typeface="Times New Roman" panose="02020603050405020304" pitchFamily="18" charset="0"/>
              <a:cs typeface="Times New Roman" panose="02020603050405020304" pitchFamily="18" charset="0"/>
            </a:endParaRPr>
          </a:p>
        </p:txBody>
      </p:sp>
      <p:sp>
        <p:nvSpPr>
          <p:cNvPr id="12" name="Rounded Rectangle 23"/>
          <p:cNvSpPr/>
          <p:nvPr/>
        </p:nvSpPr>
        <p:spPr>
          <a:xfrm>
            <a:off x="6097803" y="8173607"/>
            <a:ext cx="5638919" cy="1372032"/>
          </a:xfrm>
          <a:prstGeom prst="roundRect">
            <a:avLst/>
          </a:prstGeom>
          <a:solidFill>
            <a:srgbClr val="18A0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00" b="1" dirty="0">
                <a:solidFill>
                  <a:prstClr val="white"/>
                </a:solidFill>
                <a:latin typeface="Times New Roman" panose="02020603050405020304" pitchFamily="18" charset="0"/>
                <a:cs typeface="Times New Roman" panose="02020603050405020304" pitchFamily="18" charset="0"/>
              </a:rPr>
              <a:t>Con </a:t>
            </a:r>
            <a:r>
              <a:rPr lang="en-GB" sz="3600" b="1" dirty="0" err="1">
                <a:solidFill>
                  <a:prstClr val="white"/>
                </a:solidFill>
                <a:latin typeface="Times New Roman" panose="02020603050405020304" pitchFamily="18" charset="0"/>
                <a:cs typeface="Times New Roman" panose="02020603050405020304" pitchFamily="18" charset="0"/>
              </a:rPr>
              <a:t>rồng</a:t>
            </a:r>
            <a:r>
              <a:rPr lang="en-GB" sz="3600" b="1" dirty="0">
                <a:solidFill>
                  <a:prstClr val="white"/>
                </a:solidFill>
                <a:latin typeface="Times New Roman" panose="02020603050405020304" pitchFamily="18" charset="0"/>
                <a:cs typeface="Times New Roman" panose="02020603050405020304" pitchFamily="18" charset="0"/>
              </a:rPr>
              <a:t> </a:t>
            </a:r>
            <a:r>
              <a:rPr lang="en-GB" sz="3600" b="1" dirty="0" err="1">
                <a:solidFill>
                  <a:prstClr val="white"/>
                </a:solidFill>
                <a:latin typeface="Times New Roman" panose="02020603050405020304" pitchFamily="18" charset="0"/>
                <a:cs typeface="Times New Roman" panose="02020603050405020304" pitchFamily="18" charset="0"/>
              </a:rPr>
              <a:t>cháu</a:t>
            </a:r>
            <a:r>
              <a:rPr lang="en-GB" sz="3600" b="1" dirty="0">
                <a:solidFill>
                  <a:prstClr val="white"/>
                </a:solidFill>
                <a:latin typeface="Times New Roman" panose="02020603050405020304" pitchFamily="18" charset="0"/>
                <a:cs typeface="Times New Roman" panose="02020603050405020304" pitchFamily="18" charset="0"/>
              </a:rPr>
              <a:t> </a:t>
            </a:r>
            <a:r>
              <a:rPr lang="en-GB" sz="3600" b="1" dirty="0" err="1">
                <a:solidFill>
                  <a:prstClr val="white"/>
                </a:solidFill>
                <a:latin typeface="Times New Roman" panose="02020603050405020304" pitchFamily="18" charset="0"/>
                <a:cs typeface="Times New Roman" panose="02020603050405020304" pitchFamily="18" charset="0"/>
              </a:rPr>
              <a:t>tiên</a:t>
            </a:r>
            <a:r>
              <a:rPr lang="en-GB" sz="3600" b="1" dirty="0">
                <a:solidFill>
                  <a:prstClr val="white"/>
                </a:solidFill>
                <a:latin typeface="Times New Roman" panose="02020603050405020304" pitchFamily="18" charset="0"/>
                <a:cs typeface="Times New Roman" panose="02020603050405020304" pitchFamily="18" charset="0"/>
              </a:rPr>
              <a:t> (</a:t>
            </a:r>
            <a:r>
              <a:rPr lang="en-GB" sz="3600" b="1" dirty="0" err="1">
                <a:solidFill>
                  <a:prstClr val="white"/>
                </a:solidFill>
                <a:latin typeface="Times New Roman" panose="02020603050405020304" pitchFamily="18" charset="0"/>
                <a:cs typeface="Times New Roman" panose="02020603050405020304" pitchFamily="18" charset="0"/>
              </a:rPr>
              <a:t>Bọc</a:t>
            </a:r>
            <a:r>
              <a:rPr lang="en-GB" sz="3600" b="1" dirty="0">
                <a:solidFill>
                  <a:prstClr val="white"/>
                </a:solidFill>
                <a:latin typeface="Times New Roman" panose="02020603050405020304" pitchFamily="18" charset="0"/>
                <a:cs typeface="Times New Roman" panose="02020603050405020304" pitchFamily="18" charset="0"/>
              </a:rPr>
              <a:t> </a:t>
            </a:r>
            <a:r>
              <a:rPr lang="en-GB" sz="3600" b="1" dirty="0" err="1">
                <a:solidFill>
                  <a:prstClr val="white"/>
                </a:solidFill>
                <a:latin typeface="Times New Roman" panose="02020603050405020304" pitchFamily="18" charset="0"/>
                <a:cs typeface="Times New Roman" panose="02020603050405020304" pitchFamily="18" charset="0"/>
              </a:rPr>
              <a:t>trăm</a:t>
            </a:r>
            <a:r>
              <a:rPr lang="en-GB" sz="3600" b="1" dirty="0">
                <a:solidFill>
                  <a:prstClr val="white"/>
                </a:solidFill>
                <a:latin typeface="Times New Roman" panose="02020603050405020304" pitchFamily="18" charset="0"/>
                <a:cs typeface="Times New Roman" panose="02020603050405020304" pitchFamily="18" charset="0"/>
              </a:rPr>
              <a:t> </a:t>
            </a:r>
            <a:r>
              <a:rPr lang="en-GB" sz="3600" b="1" dirty="0" err="1">
                <a:solidFill>
                  <a:prstClr val="white"/>
                </a:solidFill>
                <a:latin typeface="Times New Roman" panose="02020603050405020304" pitchFamily="18" charset="0"/>
                <a:cs typeface="Times New Roman" panose="02020603050405020304" pitchFamily="18" charset="0"/>
              </a:rPr>
              <a:t>trứng</a:t>
            </a:r>
            <a:r>
              <a:rPr lang="en-GB" sz="3600" b="1" dirty="0">
                <a:solidFill>
                  <a:prstClr val="white"/>
                </a:solidFill>
                <a:latin typeface="Times New Roman" panose="02020603050405020304" pitchFamily="18" charset="0"/>
                <a:cs typeface="Times New Roman" panose="02020603050405020304" pitchFamily="18" charset="0"/>
              </a:rPr>
              <a:t>)</a:t>
            </a:r>
            <a:endParaRPr lang="en-GB" sz="3600" b="1" dirty="0">
              <a:solidFill>
                <a:prstClr val="white"/>
              </a:solidFill>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9"/>
                                        </p:tgtEl>
                                      </p:cBhvr>
                                    </p:animEffect>
                                    <p:set>
                                      <p:cBhvr>
                                        <p:cTn id="7" dur="1" fill="hold">
                                          <p:stCondLst>
                                            <p:cond delay="499"/>
                                          </p:stCondLst>
                                        </p:cTn>
                                        <p:tgtEl>
                                          <p:spTgt spid="9"/>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par>
                          <p:cTn id="13" fill="hold">
                            <p:stCondLst>
                              <p:cond delay="500"/>
                            </p:stCondLst>
                            <p:childTnLst>
                              <p:par>
                                <p:cTn id="14" presetID="10" presetClass="exit" presetSubtype="0" fill="hold" grpId="0" nodeType="afterEffect">
                                  <p:stCondLst>
                                    <p:cond delay="0"/>
                                  </p:stCondLst>
                                  <p:childTnLst>
                                    <p:animEffect transition="out" filter="fade">
                                      <p:cBhvr>
                                        <p:cTn id="15" dur="500"/>
                                        <p:tgtEl>
                                          <p:spTgt spid="8"/>
                                        </p:tgtEl>
                                      </p:cBhvr>
                                    </p:animEffect>
                                    <p:set>
                                      <p:cBhvr>
                                        <p:cTn id="16" dur="1" fill="hold">
                                          <p:stCondLst>
                                            <p:cond delay="499"/>
                                          </p:stCondLst>
                                        </p:cTn>
                                        <p:tgtEl>
                                          <p:spTgt spid="8"/>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childTnLst>
                          </p:cTn>
                        </p:par>
                        <p:par>
                          <p:cTn id="22" fill="hold">
                            <p:stCondLst>
                              <p:cond delay="500"/>
                            </p:stCondLst>
                            <p:childTnLst>
                              <p:par>
                                <p:cTn id="23" presetID="10" presetClass="exit" presetSubtype="0" fill="hold" grpId="1" nodeType="afterEffect">
                                  <p:stCondLst>
                                    <p:cond delay="0"/>
                                  </p:stCondLst>
                                  <p:childTnLst>
                                    <p:animEffect transition="out" filter="fade">
                                      <p:cBhvr>
                                        <p:cTn id="24" dur="500"/>
                                        <p:tgtEl>
                                          <p:spTgt spid="7"/>
                                        </p:tgtEl>
                                      </p:cBhvr>
                                    </p:animEffect>
                                    <p:set>
                                      <p:cBhvr>
                                        <p:cTn id="25" dur="1" fill="hold">
                                          <p:stCondLst>
                                            <p:cond delay="499"/>
                                          </p:stCondLst>
                                        </p:cTn>
                                        <p:tgtEl>
                                          <p:spTgt spid="7"/>
                                        </p:tgtEl>
                                        <p:attrNameLst>
                                          <p:attrName>style.visibility</p:attrName>
                                        </p:attrNameLst>
                                      </p:cBhvr>
                                      <p:to>
                                        <p:strVal val="hidden"/>
                                      </p:to>
                                    </p:set>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30" restart="whenNotActive" fill="hold" evtFilter="cancelBubble" nodeType="interactiveSeq">
                <p:stCondLst>
                  <p:cond evt="onClick" delay="0">
                    <p:tgtEl>
                      <p:spTgt spid="11"/>
                    </p:tgtEl>
                  </p:cond>
                </p:stCondLst>
                <p:endSync evt="end" delay="0">
                  <p:rtn val="all"/>
                </p:endSync>
                <p:childTnLst>
                  <p:par>
                    <p:cTn id="31" fill="hold">
                      <p:stCondLst>
                        <p:cond delay="0"/>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10" presetClass="exit" presetSubtype="0" fill="hold" grpId="1" nodeType="withEffect">
                                  <p:stCondLst>
                                    <p:cond delay="0"/>
                                  </p:stCondLst>
                                  <p:childTnLst>
                                    <p:animEffect transition="out" filter="fade">
                                      <p:cBhvr>
                                        <p:cTn id="37" dur="500"/>
                                        <p:tgtEl>
                                          <p:spTgt spid="6"/>
                                        </p:tgtEl>
                                      </p:cBhvr>
                                    </p:animEffect>
                                    <p:set>
                                      <p:cBhvr>
                                        <p:cTn id="38" dur="1" fill="hold">
                                          <p:stCondLst>
                                            <p:cond delay="499"/>
                                          </p:stCondLst>
                                        </p:cTn>
                                        <p:tgtEl>
                                          <p:spTgt spid="6"/>
                                        </p:tgtEl>
                                        <p:attrNameLst>
                                          <p:attrName>style.visibility</p:attrName>
                                        </p:attrNameLst>
                                      </p:cBhvr>
                                      <p:to>
                                        <p:strVal val="hidden"/>
                                      </p:to>
                                    </p:set>
                                  </p:childTnLst>
                                </p:cTn>
                              </p:par>
                            </p:childTnLst>
                          </p:cTn>
                        </p:par>
                      </p:childTnLst>
                    </p:cTn>
                  </p:par>
                </p:childTnLst>
              </p:cTn>
              <p:nextCondLst>
                <p:cond evt="onClick" delay="0">
                  <p:tgtEl>
                    <p:spTgt spid="11"/>
                  </p:tgtEl>
                </p:cond>
              </p:nextCondLst>
            </p:seq>
          </p:childTnLst>
        </p:cTn>
      </p:par>
    </p:tnLst>
    <p:bldLst>
      <p:bldP spid="6" grpId="0" bldLvl="0" animBg="1"/>
      <p:bldP spid="6" grpId="1" bldLvl="0" animBg="1"/>
      <p:bldP spid="7" grpId="0" bldLvl="0" animBg="1"/>
      <p:bldP spid="7" grpId="1" bldLvl="0" animBg="1"/>
      <p:bldP spid="8" grpId="0" bldLvl="0" animBg="1"/>
      <p:bldP spid="9" grpId="0" bldLvl="0" animBg="1"/>
      <p:bldP spid="11" grpId="0" bldLvl="0" animBg="1"/>
      <p:bldP spid="12" grpId="0" bldLvl="0" animBg="1"/>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F4F4F4"/>
        </a:solidFill>
        <a:effectLst/>
      </p:bgPr>
    </p:bg>
    <p:spTree>
      <p:nvGrpSpPr>
        <p:cNvPr id="1" name=""/>
        <p:cNvGrpSpPr/>
        <p:nvPr/>
      </p:nvGrpSpPr>
      <p:grpSpPr>
        <a:xfrm>
          <a:off x="0" y="0"/>
          <a:ext cx="0" cy="0"/>
          <a:chOff x="0" y="0"/>
          <a:chExt cx="0" cy="0"/>
        </a:xfrm>
      </p:grpSpPr>
      <p:pic>
        <p:nvPicPr>
          <p:cNvPr id="4" name="Picture 4"/>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a:off x="6019800" y="2171700"/>
            <a:ext cx="7186055" cy="761026"/>
          </a:xfrm>
          <a:prstGeom prst="rect">
            <a:avLst/>
          </a:prstGeom>
        </p:spPr>
      </p:pic>
      <p:sp>
        <p:nvSpPr>
          <p:cNvPr id="30" name="Rectangle 29"/>
          <p:cNvSpPr/>
          <p:nvPr/>
        </p:nvSpPr>
        <p:spPr>
          <a:xfrm>
            <a:off x="0" y="1007417"/>
            <a:ext cx="18287999" cy="990015"/>
          </a:xfrm>
          <a:prstGeom prst="rect">
            <a:avLst/>
          </a:prstGeom>
        </p:spPr>
        <p:txBody>
          <a:bodyPr wrap="square">
            <a:spAutoFit/>
          </a:bodyPr>
          <a:lstStyle/>
          <a:p>
            <a:pPr algn="ctr">
              <a:lnSpc>
                <a:spcPts val="7000"/>
              </a:lnSpc>
            </a:pPr>
            <a:r>
              <a:rPr lang="nl-NL" sz="5500" b="1" dirty="0" smtClean="0">
                <a:solidFill>
                  <a:srgbClr val="000000"/>
                </a:solidFill>
                <a:latin typeface="Arial" panose="020B0604020202020204" pitchFamily="34" charset="0"/>
                <a:ea typeface="Calibri" panose="020F0502020204030204" charset="0"/>
                <a:cs typeface="Arial" panose="020B0604020202020204" pitchFamily="34" charset="0"/>
              </a:rPr>
              <a:t>a. Đời sống vật chất</a:t>
            </a:r>
            <a:endParaRPr lang="en-US" sz="5500" b="1" dirty="0">
              <a:effectLst/>
              <a:latin typeface="Arial" panose="020B0604020202020204" pitchFamily="34" charset="0"/>
              <a:ea typeface="Calibri" panose="020F0502020204030204" charset="0"/>
              <a:cs typeface="Arial" panose="020B0604020202020204" pitchFamily="34" charset="0"/>
            </a:endParaRPr>
          </a:p>
        </p:txBody>
      </p:sp>
      <p:sp>
        <p:nvSpPr>
          <p:cNvPr id="34" name="Rectangle 33"/>
          <p:cNvSpPr/>
          <p:nvPr/>
        </p:nvSpPr>
        <p:spPr>
          <a:xfrm>
            <a:off x="4191000" y="3848100"/>
            <a:ext cx="13184330" cy="2977738"/>
          </a:xfrm>
          <a:prstGeom prst="rect">
            <a:avLst/>
          </a:prstGeom>
        </p:spPr>
        <p:txBody>
          <a:bodyPr wrap="square">
            <a:spAutoFit/>
          </a:bodyPr>
          <a:lstStyle/>
          <a:p>
            <a:pPr algn="just">
              <a:lnSpc>
                <a:spcPts val="7500"/>
              </a:lnSpc>
            </a:pPr>
            <a:r>
              <a:rPr lang="en-US" sz="5000" dirty="0" smtClean="0">
                <a:solidFill>
                  <a:srgbClr val="000000"/>
                </a:solidFill>
                <a:latin typeface="Arial" panose="020B0604020202020204" pitchFamily="34" charset="0"/>
                <a:ea typeface="Calibri" panose="020F0502020204030204" charset="0"/>
                <a:cs typeface="Arial" panose="020B0604020202020204" pitchFamily="34" charset="0"/>
              </a:rPr>
              <a:t>Quan sát Hình 6, 7, 8, mô tả đời sống vật chất của cư dân Văn Lang, Âu Lạc về: nơi ở, ăn, kiểu tóc, trang phục, nghề sản xuất chính. </a:t>
            </a:r>
            <a:endParaRPr lang="en-US" sz="5000" dirty="0">
              <a:latin typeface="Arial" panose="020B0604020202020204" pitchFamily="34" charset="0"/>
              <a:ea typeface="Calibri" panose="020F0502020204030204" charset="0"/>
              <a:cs typeface="Arial" panose="020B0604020202020204" pitchFamily="34" charset="0"/>
            </a:endParaRPr>
          </a:p>
        </p:txBody>
      </p:sp>
      <p:pic>
        <p:nvPicPr>
          <p:cNvPr id="35" name="Picture 7"/>
          <p:cNvPicPr>
            <a:picLocks noChangeAspect="1"/>
          </p:cNvPicPr>
          <p:nvPr/>
        </p:nvPicPr>
        <p:blipFill>
          <a:blip/>
          <a:srcRect/>
          <a:stretch>
            <a:fillRect/>
          </a:stretch>
        </p:blipFill>
        <p:spPr>
          <a:xfrm flipH="1">
            <a:off x="685800" y="2400300"/>
            <a:ext cx="3352800" cy="7772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barn(inVertical)">
                                      <p:cBhvr>
                                        <p:cTn id="7" dur="500"/>
                                        <p:tgtEl>
                                          <p:spTgt spid="3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barn(inVertical)">
                                      <p:cBhvr>
                                        <p:cTn id="12" dur="500"/>
                                        <p:tgtEl>
                                          <p:spTgt spid="30"/>
                                        </p:tgtEl>
                                      </p:cBhvr>
                                    </p:animEffect>
                                  </p:childTnLst>
                                </p:cTn>
                              </p:par>
                              <p:par>
                                <p:cTn id="13" presetID="16" presetClass="entr" presetSubtype="21"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barn(inVertical)">
                                      <p:cBhvr>
                                        <p:cTn id="15" dur="500"/>
                                        <p:tgtEl>
                                          <p:spTgt spid="4"/>
                                        </p:tgtEl>
                                      </p:cBhvr>
                                    </p:animEffect>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grpId="0" nodeType="click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barn(inVertical)">
                                      <p:cBhvr>
                                        <p:cTn id="2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4"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F3CB63"/>
        </a:solidFill>
        <a:effectLst/>
      </p:bgPr>
    </p:bg>
    <p:spTree>
      <p:nvGrpSpPr>
        <p:cNvPr id="1" name=""/>
        <p:cNvGrpSpPr/>
        <p:nvPr/>
      </p:nvGrpSpPr>
      <p:grpSpPr>
        <a:xfrm>
          <a:off x="0" y="0"/>
          <a:ext cx="0" cy="0"/>
          <a:chOff x="0" y="0"/>
          <a:chExt cx="0" cy="0"/>
        </a:xfrm>
      </p:grpSpPr>
      <p:sp>
        <p:nvSpPr>
          <p:cNvPr id="5" name="TextBox 2"/>
          <p:cNvSpPr txBox="1"/>
          <p:nvPr/>
        </p:nvSpPr>
        <p:spPr>
          <a:xfrm>
            <a:off x="161470" y="8724901"/>
            <a:ext cx="8185825" cy="769441"/>
          </a:xfrm>
          <a:prstGeom prst="rect">
            <a:avLst/>
          </a:prstGeom>
        </p:spPr>
        <p:txBody>
          <a:bodyPr wrap="square" lIns="0" tIns="0" rIns="0" bIns="0" rtlCol="0" anchor="t">
            <a:spAutoFit/>
          </a:bodyPr>
          <a:lstStyle/>
          <a:p>
            <a:pPr lvl="0" algn="ctr">
              <a:lnSpc>
                <a:spcPts val="6000"/>
              </a:lnSpc>
            </a:pPr>
            <a:r>
              <a:rPr lang="en-US" sz="5000" dirty="0" smtClean="0">
                <a:solidFill>
                  <a:srgbClr val="2F2325"/>
                </a:solidFill>
                <a:latin typeface="Arial" panose="020B0604020202020204" pitchFamily="34" charset="0"/>
                <a:cs typeface="Arial" panose="020B0604020202020204" pitchFamily="34" charset="0"/>
              </a:rPr>
              <a:t>Lưỡi cày đồng hình bướm</a:t>
            </a:r>
            <a:endParaRPr lang="en-US" sz="5000" dirty="0">
              <a:solidFill>
                <a:srgbClr val="2F2325"/>
              </a:solidFill>
              <a:latin typeface="Arial" panose="020B0604020202020204" pitchFamily="34" charset="0"/>
              <a:cs typeface="Arial" panose="020B0604020202020204" pitchFamily="34" charset="0"/>
            </a:endParaRPr>
          </a:p>
        </p:txBody>
      </p:sp>
      <p:sp>
        <p:nvSpPr>
          <p:cNvPr id="7" name="TextBox 2"/>
          <p:cNvSpPr txBox="1"/>
          <p:nvPr/>
        </p:nvSpPr>
        <p:spPr>
          <a:xfrm>
            <a:off x="8720189" y="8724900"/>
            <a:ext cx="8776782" cy="769441"/>
          </a:xfrm>
          <a:prstGeom prst="rect">
            <a:avLst/>
          </a:prstGeom>
        </p:spPr>
        <p:txBody>
          <a:bodyPr wrap="square" lIns="0" tIns="0" rIns="0" bIns="0" rtlCol="0" anchor="t">
            <a:spAutoFit/>
          </a:bodyPr>
          <a:lstStyle/>
          <a:p>
            <a:pPr lvl="0" algn="ctr">
              <a:lnSpc>
                <a:spcPts val="6000"/>
              </a:lnSpc>
            </a:pPr>
            <a:r>
              <a:rPr lang="en-US" sz="5000" dirty="0" smtClean="0">
                <a:solidFill>
                  <a:srgbClr val="2F2325"/>
                </a:solidFill>
                <a:latin typeface="Arial" panose="020B0604020202020204" pitchFamily="34" charset="0"/>
                <a:cs typeface="Arial" panose="020B0604020202020204" pitchFamily="34" charset="0"/>
              </a:rPr>
              <a:t>Họa tiết trống đồng Đông Sơn</a:t>
            </a:r>
            <a:endParaRPr lang="en-US" sz="5000" dirty="0">
              <a:solidFill>
                <a:srgbClr val="2F2325"/>
              </a:solidFill>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1"/>
          <a:stretch>
            <a:fillRect/>
          </a:stretch>
        </p:blipFill>
        <p:spPr>
          <a:xfrm>
            <a:off x="381000" y="1181100"/>
            <a:ext cx="7772400" cy="7162800"/>
          </a:xfrm>
          <a:prstGeom prst="rect">
            <a:avLst/>
          </a:prstGeom>
        </p:spPr>
      </p:pic>
      <p:pic>
        <p:nvPicPr>
          <p:cNvPr id="8" name="Picture 7"/>
          <p:cNvPicPr>
            <a:picLocks noChangeAspect="1"/>
          </p:cNvPicPr>
          <p:nvPr/>
        </p:nvPicPr>
        <p:blipFill>
          <a:blip r:embed="rId2"/>
          <a:stretch>
            <a:fillRect/>
          </a:stretch>
        </p:blipFill>
        <p:spPr>
          <a:xfrm>
            <a:off x="8749218" y="1181100"/>
            <a:ext cx="8776782" cy="7219574"/>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barn(inVertical)">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barn(inVertical)">
                                      <p:cBhvr>
                                        <p:cTn id="15" dur="500"/>
                                        <p:tgtEl>
                                          <p:spTgt spid="8"/>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barn(inVertical)">
                                      <p:cBhvr>
                                        <p:cTn id="1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F3CB63"/>
        </a:solidFill>
        <a:effectLst/>
      </p:bgPr>
    </p:bg>
    <p:spTree>
      <p:nvGrpSpPr>
        <p:cNvPr id="1" name=""/>
        <p:cNvGrpSpPr/>
        <p:nvPr/>
      </p:nvGrpSpPr>
      <p:grpSpPr>
        <a:xfrm>
          <a:off x="0" y="0"/>
          <a:ext cx="0" cy="0"/>
          <a:chOff x="0" y="0"/>
          <a:chExt cx="0" cy="0"/>
        </a:xfrm>
      </p:grpSpPr>
      <p:sp>
        <p:nvSpPr>
          <p:cNvPr id="5" name="TextBox 2"/>
          <p:cNvSpPr txBox="1"/>
          <p:nvPr/>
        </p:nvSpPr>
        <p:spPr>
          <a:xfrm>
            <a:off x="2177143" y="9105900"/>
            <a:ext cx="13944600" cy="769441"/>
          </a:xfrm>
          <a:prstGeom prst="rect">
            <a:avLst/>
          </a:prstGeom>
        </p:spPr>
        <p:txBody>
          <a:bodyPr wrap="square" lIns="0" tIns="0" rIns="0" bIns="0" rtlCol="0" anchor="t">
            <a:spAutoFit/>
          </a:bodyPr>
          <a:lstStyle/>
          <a:p>
            <a:pPr lvl="0" algn="ctr">
              <a:lnSpc>
                <a:spcPts val="6000"/>
              </a:lnSpc>
            </a:pPr>
            <a:r>
              <a:rPr lang="en-US" sz="5000" dirty="0" smtClean="0">
                <a:solidFill>
                  <a:srgbClr val="2F2325"/>
                </a:solidFill>
                <a:latin typeface="Arial" panose="020B0604020202020204" pitchFamily="34" charset="0"/>
                <a:cs typeface="Arial" panose="020B0604020202020204" pitchFamily="34" charset="0"/>
              </a:rPr>
              <a:t>Trang phục và kiểu tóc của người Việt cổ</a:t>
            </a:r>
            <a:endParaRPr lang="en-US" sz="5000" dirty="0">
              <a:solidFill>
                <a:srgbClr val="2F2325"/>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1"/>
          <a:stretch>
            <a:fillRect/>
          </a:stretch>
        </p:blipFill>
        <p:spPr>
          <a:xfrm>
            <a:off x="2286000" y="1104900"/>
            <a:ext cx="13868400" cy="7848600"/>
          </a:xfrm>
          <a:prstGeom prst="rect">
            <a:avLst/>
          </a:prstGeom>
          <a:ln>
            <a:noFill/>
          </a:ln>
          <a:effectLst>
            <a:softEdge rad="112500"/>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barn(inVertical)">
                                      <p:cBhvr>
                                        <p:cTn id="12"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FF9EA"/>
        </a:solidFill>
        <a:effectLst/>
      </p:bgPr>
    </p:bg>
    <p:spTree>
      <p:nvGrpSpPr>
        <p:cNvPr id="1" name=""/>
        <p:cNvGrpSpPr/>
        <p:nvPr/>
      </p:nvGrpSpPr>
      <p:grpSpPr>
        <a:xfrm>
          <a:off x="0" y="0"/>
          <a:ext cx="0" cy="0"/>
          <a:chOff x="0" y="0"/>
          <a:chExt cx="0" cy="0"/>
        </a:xfrm>
      </p:grpSpPr>
      <p:sp>
        <p:nvSpPr>
          <p:cNvPr id="10" name="TextBox 10"/>
          <p:cNvSpPr txBox="1"/>
          <p:nvPr/>
        </p:nvSpPr>
        <p:spPr>
          <a:xfrm>
            <a:off x="0" y="876300"/>
            <a:ext cx="18288000" cy="1154162"/>
          </a:xfrm>
          <a:prstGeom prst="rect">
            <a:avLst/>
          </a:prstGeom>
        </p:spPr>
        <p:txBody>
          <a:bodyPr wrap="square" lIns="0" tIns="0" rIns="0" bIns="0" rtlCol="0" anchor="t">
            <a:spAutoFit/>
          </a:bodyPr>
          <a:lstStyle/>
          <a:p>
            <a:pPr algn="ctr">
              <a:lnSpc>
                <a:spcPts val="8960"/>
              </a:lnSpc>
              <a:spcBef>
                <a:spcPct val="0"/>
              </a:spcBef>
            </a:pPr>
            <a:r>
              <a:rPr lang="en-US" sz="5000" b="1" dirty="0" smtClean="0">
                <a:solidFill>
                  <a:srgbClr val="493423"/>
                </a:solidFill>
                <a:latin typeface="Arial" panose="020B0604020202020204" pitchFamily="34" charset="0"/>
                <a:cs typeface="Arial" panose="020B0604020202020204" pitchFamily="34" charset="0"/>
              </a:rPr>
              <a:t>Đời sống vật chất của cư dân Văn Lang, Âu Lạc</a:t>
            </a:r>
            <a:endParaRPr lang="en-US" sz="5000" b="1" dirty="0">
              <a:solidFill>
                <a:srgbClr val="493423"/>
              </a:solidFill>
              <a:latin typeface="Arial" panose="020B0604020202020204" pitchFamily="34" charset="0"/>
              <a:cs typeface="Arial" panose="020B0604020202020204" pitchFamily="34" charset="0"/>
            </a:endParaRPr>
          </a:p>
        </p:txBody>
      </p:sp>
      <p:graphicFrame>
        <p:nvGraphicFramePr>
          <p:cNvPr id="16" name="Table 15"/>
          <p:cNvGraphicFramePr>
            <a:graphicFrameLocks noGrp="1"/>
          </p:cNvGraphicFramePr>
          <p:nvPr/>
        </p:nvGraphicFramePr>
        <p:xfrm>
          <a:off x="609600" y="2324100"/>
          <a:ext cx="17145001" cy="7385558"/>
        </p:xfrm>
        <a:graphic>
          <a:graphicData uri="http://schemas.openxmlformats.org/drawingml/2006/table">
            <a:tbl>
              <a:tblPr firstRow="1" bandRow="1">
                <a:tableStyleId>{F5AB1C69-6EDB-4FF4-983F-18BD219EF322}</a:tableStyleId>
              </a:tblPr>
              <a:tblGrid>
                <a:gridCol w="3962402"/>
                <a:gridCol w="13182599"/>
              </a:tblGrid>
              <a:tr h="0">
                <a:tc>
                  <a:txBody>
                    <a:bodyPr/>
                    <a:lstStyle/>
                    <a:p>
                      <a:pPr algn="ctr">
                        <a:lnSpc>
                          <a:spcPts val="7000"/>
                        </a:lnSpc>
                      </a:pPr>
                      <a:r>
                        <a:rPr lang="en-US" sz="4500" b="0" dirty="0" smtClean="0">
                          <a:solidFill>
                            <a:schemeClr val="tx1">
                              <a:lumMod val="95000"/>
                              <a:lumOff val="5000"/>
                            </a:schemeClr>
                          </a:solidFill>
                          <a:latin typeface="Arial" panose="020B0604020202020204" pitchFamily="34" charset="0"/>
                          <a:cs typeface="Arial" panose="020B0604020202020204" pitchFamily="34" charset="0"/>
                        </a:rPr>
                        <a:t>Ở</a:t>
                      </a:r>
                      <a:endParaRPr lang="en-US" sz="4500" b="0" dirty="0">
                        <a:solidFill>
                          <a:schemeClr val="tx1">
                            <a:lumMod val="95000"/>
                            <a:lumOff val="5000"/>
                          </a:schemeClr>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pPr>
                        <a:lnSpc>
                          <a:spcPts val="7000"/>
                        </a:lnSpc>
                      </a:pPr>
                      <a:r>
                        <a:rPr lang="en-US" sz="4500" b="0" dirty="0" smtClean="0">
                          <a:solidFill>
                            <a:schemeClr val="tx1">
                              <a:lumMod val="95000"/>
                              <a:lumOff val="5000"/>
                            </a:schemeClr>
                          </a:solidFill>
                          <a:latin typeface="Arial" panose="020B0604020202020204" pitchFamily="34" charset="0"/>
                          <a:cs typeface="Arial" panose="020B0604020202020204" pitchFamily="34" charset="0"/>
                        </a:rPr>
                        <a:t>Nhà</a:t>
                      </a:r>
                      <a:r>
                        <a:rPr lang="en-US" sz="4500" b="0" baseline="0" dirty="0" smtClean="0">
                          <a:solidFill>
                            <a:schemeClr val="tx1">
                              <a:lumMod val="95000"/>
                              <a:lumOff val="5000"/>
                            </a:schemeClr>
                          </a:solidFill>
                          <a:latin typeface="Arial" panose="020B0604020202020204" pitchFamily="34" charset="0"/>
                          <a:cs typeface="Arial" panose="020B0604020202020204" pitchFamily="34" charset="0"/>
                        </a:rPr>
                        <a:t> sàn được dựng bằng tre, nứa, lá, gỗ</a:t>
                      </a:r>
                      <a:endParaRPr lang="en-US" sz="4500" b="0" dirty="0">
                        <a:solidFill>
                          <a:schemeClr val="tx1">
                            <a:lumMod val="95000"/>
                            <a:lumOff val="5000"/>
                          </a:schemeClr>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r>
              <a:tr h="370840">
                <a:tc>
                  <a:txBody>
                    <a:bodyPr/>
                    <a:lstStyle/>
                    <a:p>
                      <a:pPr algn="ctr">
                        <a:lnSpc>
                          <a:spcPts val="7000"/>
                        </a:lnSpc>
                      </a:pPr>
                      <a:r>
                        <a:rPr lang="en-US" sz="4500" dirty="0" smtClean="0">
                          <a:latin typeface="Arial" panose="020B0604020202020204" pitchFamily="34" charset="0"/>
                          <a:cs typeface="Arial" panose="020B0604020202020204" pitchFamily="34" charset="0"/>
                        </a:rPr>
                        <a:t>Ăn</a:t>
                      </a:r>
                      <a:r>
                        <a:rPr lang="en-US" sz="4500" baseline="0" dirty="0" smtClean="0">
                          <a:latin typeface="Arial" panose="020B0604020202020204" pitchFamily="34" charset="0"/>
                          <a:cs typeface="Arial" panose="020B0604020202020204" pitchFamily="34" charset="0"/>
                        </a:rPr>
                        <a:t> </a:t>
                      </a:r>
                      <a:endParaRPr lang="en-US" sz="4500" dirty="0">
                        <a:latin typeface="Arial" panose="020B0604020202020204" pitchFamily="34" charset="0"/>
                        <a:cs typeface="Arial" panose="020B0604020202020204" pitchFamily="34" charset="0"/>
                      </a:endParaRPr>
                    </a:p>
                  </a:txBody>
                  <a:tcPr/>
                </a:tc>
                <a:tc>
                  <a:txBody>
                    <a:bodyPr/>
                    <a:lstStyle/>
                    <a:p>
                      <a:pPr>
                        <a:lnSpc>
                          <a:spcPts val="7000"/>
                        </a:lnSpc>
                      </a:pPr>
                      <a:r>
                        <a:rPr lang="en-US" sz="4500" dirty="0" smtClean="0">
                          <a:latin typeface="Arial" panose="020B0604020202020204" pitchFamily="34" charset="0"/>
                          <a:cs typeface="Arial" panose="020B0604020202020204" pitchFamily="34" charset="0"/>
                        </a:rPr>
                        <a:t>Cơm</a:t>
                      </a:r>
                      <a:r>
                        <a:rPr lang="en-US" sz="4500" baseline="0" dirty="0" smtClean="0">
                          <a:latin typeface="Arial" panose="020B0604020202020204" pitchFamily="34" charset="0"/>
                          <a:cs typeface="Arial" panose="020B0604020202020204" pitchFamily="34" charset="0"/>
                        </a:rPr>
                        <a:t> nếp, cơm tẻ, muối, mắm, cá</a:t>
                      </a:r>
                      <a:endParaRPr lang="en-US" sz="4500" dirty="0">
                        <a:latin typeface="Arial" panose="020B0604020202020204" pitchFamily="34" charset="0"/>
                        <a:cs typeface="Arial" panose="020B0604020202020204" pitchFamily="34" charset="0"/>
                      </a:endParaRPr>
                    </a:p>
                  </a:txBody>
                  <a:tcPr/>
                </a:tc>
              </a:tr>
              <a:tr h="370840">
                <a:tc>
                  <a:txBody>
                    <a:bodyPr/>
                    <a:lstStyle/>
                    <a:p>
                      <a:pPr algn="ctr">
                        <a:lnSpc>
                          <a:spcPts val="7000"/>
                        </a:lnSpc>
                      </a:pPr>
                      <a:r>
                        <a:rPr lang="en-US" sz="4500" dirty="0" smtClean="0">
                          <a:latin typeface="Arial" panose="020B0604020202020204" pitchFamily="34" charset="0"/>
                          <a:cs typeface="Arial" panose="020B0604020202020204" pitchFamily="34" charset="0"/>
                        </a:rPr>
                        <a:t>Kiểu</a:t>
                      </a:r>
                      <a:r>
                        <a:rPr lang="en-US" sz="4500" baseline="0" dirty="0" smtClean="0">
                          <a:latin typeface="Arial" panose="020B0604020202020204" pitchFamily="34" charset="0"/>
                          <a:cs typeface="Arial" panose="020B0604020202020204" pitchFamily="34" charset="0"/>
                        </a:rPr>
                        <a:t> tóc, </a:t>
                      </a:r>
                      <a:endParaRPr lang="en-US" sz="4500" baseline="0" dirty="0" smtClean="0">
                        <a:latin typeface="Arial" panose="020B0604020202020204" pitchFamily="34" charset="0"/>
                        <a:cs typeface="Arial" panose="020B0604020202020204" pitchFamily="34" charset="0"/>
                      </a:endParaRPr>
                    </a:p>
                    <a:p>
                      <a:pPr algn="ctr">
                        <a:lnSpc>
                          <a:spcPts val="7000"/>
                        </a:lnSpc>
                      </a:pPr>
                      <a:r>
                        <a:rPr lang="en-US" sz="4500" baseline="0" dirty="0" smtClean="0">
                          <a:latin typeface="Arial" panose="020B0604020202020204" pitchFamily="34" charset="0"/>
                          <a:cs typeface="Arial" panose="020B0604020202020204" pitchFamily="34" charset="0"/>
                        </a:rPr>
                        <a:t>trang phục</a:t>
                      </a:r>
                      <a:endParaRPr lang="en-US" sz="4500" dirty="0">
                        <a:latin typeface="Arial" panose="020B0604020202020204" pitchFamily="34" charset="0"/>
                        <a:cs typeface="Arial" panose="020B0604020202020204" pitchFamily="34" charset="0"/>
                      </a:endParaRPr>
                    </a:p>
                  </a:txBody>
                  <a:tcPr/>
                </a:tc>
                <a:tc>
                  <a:txBody>
                    <a:bodyPr/>
                    <a:lstStyle/>
                    <a:p>
                      <a:pPr algn="just">
                        <a:lnSpc>
                          <a:spcPts val="7000"/>
                        </a:lnSpc>
                      </a:pPr>
                      <a:r>
                        <a:rPr lang="en-US" sz="4500" dirty="0" smtClean="0">
                          <a:latin typeface="Arial" panose="020B0604020202020204" pitchFamily="34" charset="0"/>
                          <a:cs typeface="Arial" panose="020B0604020202020204" pitchFamily="34" charset="0"/>
                        </a:rPr>
                        <a:t>Nữ</a:t>
                      </a:r>
                      <a:r>
                        <a:rPr lang="en-US" sz="4500" baseline="0" dirty="0" smtClean="0">
                          <a:latin typeface="Arial" panose="020B0604020202020204" pitchFamily="34" charset="0"/>
                          <a:cs typeface="Arial" panose="020B0604020202020204" pitchFamily="34" charset="0"/>
                        </a:rPr>
                        <a:t> mặc váy, mặc yếm, búi tóc ngang vai, búi tó, tết đuôi sam; nam đóng khố, cởi trần, đi chân đất. Lễ hội đội thêm mũ lông chim, đeo trang sức.</a:t>
                      </a:r>
                      <a:endParaRPr lang="en-US" sz="4500" dirty="0">
                        <a:latin typeface="Arial" panose="020B0604020202020204" pitchFamily="34" charset="0"/>
                        <a:cs typeface="Arial" panose="020B0604020202020204" pitchFamily="34" charset="0"/>
                      </a:endParaRPr>
                    </a:p>
                  </a:txBody>
                  <a:tcPr/>
                </a:tc>
              </a:tr>
              <a:tr h="370840">
                <a:tc>
                  <a:txBody>
                    <a:bodyPr/>
                    <a:lstStyle/>
                    <a:p>
                      <a:pPr algn="ctr">
                        <a:lnSpc>
                          <a:spcPts val="7000"/>
                        </a:lnSpc>
                      </a:pPr>
                      <a:r>
                        <a:rPr lang="en-US" sz="4500" dirty="0" smtClean="0">
                          <a:latin typeface="Arial" panose="020B0604020202020204" pitchFamily="34" charset="0"/>
                          <a:cs typeface="Arial" panose="020B0604020202020204" pitchFamily="34" charset="0"/>
                        </a:rPr>
                        <a:t>Các</a:t>
                      </a:r>
                      <a:r>
                        <a:rPr lang="en-US" sz="4500" baseline="0" dirty="0" smtClean="0">
                          <a:latin typeface="Arial" panose="020B0604020202020204" pitchFamily="34" charset="0"/>
                          <a:cs typeface="Arial" panose="020B0604020202020204" pitchFamily="34" charset="0"/>
                        </a:rPr>
                        <a:t> n</a:t>
                      </a:r>
                      <a:r>
                        <a:rPr lang="en-US" sz="4500" dirty="0" smtClean="0">
                          <a:latin typeface="Arial" panose="020B0604020202020204" pitchFamily="34" charset="0"/>
                          <a:cs typeface="Arial" panose="020B0604020202020204" pitchFamily="34" charset="0"/>
                        </a:rPr>
                        <a:t>ghề</a:t>
                      </a:r>
                      <a:r>
                        <a:rPr lang="en-US" sz="4500" baseline="0" dirty="0" smtClean="0">
                          <a:latin typeface="Arial" panose="020B0604020202020204" pitchFamily="34" charset="0"/>
                          <a:cs typeface="Arial" panose="020B0604020202020204" pitchFamily="34" charset="0"/>
                        </a:rPr>
                        <a:t> </a:t>
                      </a:r>
                      <a:endParaRPr lang="en-US" sz="4500" baseline="0" dirty="0" smtClean="0">
                        <a:latin typeface="Arial" panose="020B0604020202020204" pitchFamily="34" charset="0"/>
                        <a:cs typeface="Arial" panose="020B0604020202020204" pitchFamily="34" charset="0"/>
                      </a:endParaRPr>
                    </a:p>
                    <a:p>
                      <a:pPr algn="ctr">
                        <a:lnSpc>
                          <a:spcPts val="7000"/>
                        </a:lnSpc>
                      </a:pPr>
                      <a:r>
                        <a:rPr lang="en-US" sz="4500" baseline="0" dirty="0" smtClean="0">
                          <a:latin typeface="Arial" panose="020B0604020202020204" pitchFamily="34" charset="0"/>
                          <a:cs typeface="Arial" panose="020B0604020202020204" pitchFamily="34" charset="0"/>
                        </a:rPr>
                        <a:t>sản chính </a:t>
                      </a:r>
                      <a:endParaRPr lang="en-US" sz="4500" dirty="0">
                        <a:latin typeface="Arial" panose="020B0604020202020204" pitchFamily="34" charset="0"/>
                        <a:cs typeface="Arial" panose="020B0604020202020204" pitchFamily="34" charset="0"/>
                      </a:endParaRPr>
                    </a:p>
                  </a:txBody>
                  <a:tcPr/>
                </a:tc>
                <a:tc>
                  <a:txBody>
                    <a:bodyPr/>
                    <a:lstStyle/>
                    <a:p>
                      <a:pPr algn="just">
                        <a:lnSpc>
                          <a:spcPts val="7000"/>
                        </a:lnSpc>
                      </a:pPr>
                      <a:r>
                        <a:rPr lang="en-US" sz="4500" dirty="0" smtClean="0">
                          <a:latin typeface="Arial" panose="020B0604020202020204" pitchFamily="34" charset="0"/>
                          <a:cs typeface="Arial" panose="020B0604020202020204" pitchFamily="34" charset="0"/>
                        </a:rPr>
                        <a:t>Trồng</a:t>
                      </a:r>
                      <a:r>
                        <a:rPr lang="en-US" sz="4500" baseline="0" dirty="0" smtClean="0">
                          <a:latin typeface="Arial" panose="020B0604020202020204" pitchFamily="34" charset="0"/>
                          <a:cs typeface="Arial" panose="020B0604020202020204" pitchFamily="34" charset="0"/>
                        </a:rPr>
                        <a:t> lúa nước, hoa màu, trồng dâu, nuôi tằm. </a:t>
                      </a:r>
                      <a:endParaRPr lang="en-US" sz="4500" baseline="0" dirty="0" smtClean="0">
                        <a:latin typeface="Arial" panose="020B0604020202020204" pitchFamily="34" charset="0"/>
                        <a:cs typeface="Arial" panose="020B0604020202020204" pitchFamily="34" charset="0"/>
                      </a:endParaRPr>
                    </a:p>
                    <a:p>
                      <a:pPr algn="just">
                        <a:lnSpc>
                          <a:spcPts val="7000"/>
                        </a:lnSpc>
                      </a:pPr>
                      <a:r>
                        <a:rPr lang="en-US" sz="4500" baseline="0" dirty="0" smtClean="0">
                          <a:latin typeface="Arial" panose="020B0604020202020204" pitchFamily="34" charset="0"/>
                          <a:cs typeface="Arial" panose="020B0604020202020204" pitchFamily="34" charset="0"/>
                        </a:rPr>
                        <a:t>Luyện kim được chuyên môn hóa, kĩ thuật đúc đồng phát triển. Bước đầu biết rèn sắt. </a:t>
                      </a:r>
                      <a:endParaRPr lang="en-US" sz="4500" dirty="0">
                        <a:latin typeface="Arial" panose="020B0604020202020204" pitchFamily="34" charset="0"/>
                        <a:cs typeface="Arial" panose="020B0604020202020204" pitchFamily="34" charset="0"/>
                      </a:endParaRPr>
                    </a:p>
                  </a:txBody>
                  <a:tcPr/>
                </a:tc>
              </a:tr>
            </a:tbl>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wheel(1)">
                                      <p:cBhvr>
                                        <p:cTn id="12"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F3CB63"/>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1"/>
          <a:stretch>
            <a:fillRect/>
          </a:stretch>
        </p:blipFill>
        <p:spPr>
          <a:xfrm>
            <a:off x="609600" y="1181100"/>
            <a:ext cx="7162800" cy="7239000"/>
          </a:xfrm>
          <a:prstGeom prst="rect">
            <a:avLst/>
          </a:prstGeom>
          <a:ln>
            <a:noFill/>
          </a:ln>
          <a:effectLst>
            <a:softEdge rad="112500"/>
          </a:effectLst>
        </p:spPr>
      </p:pic>
      <p:sp>
        <p:nvSpPr>
          <p:cNvPr id="5" name="TextBox 2"/>
          <p:cNvSpPr txBox="1"/>
          <p:nvPr/>
        </p:nvSpPr>
        <p:spPr>
          <a:xfrm>
            <a:off x="609600" y="8572500"/>
            <a:ext cx="6934200" cy="1538883"/>
          </a:xfrm>
          <a:prstGeom prst="rect">
            <a:avLst/>
          </a:prstGeom>
        </p:spPr>
        <p:txBody>
          <a:bodyPr wrap="square" lIns="0" tIns="0" rIns="0" bIns="0" rtlCol="0" anchor="t">
            <a:spAutoFit/>
          </a:bodyPr>
          <a:lstStyle/>
          <a:p>
            <a:pPr lvl="0" algn="ctr">
              <a:lnSpc>
                <a:spcPts val="6000"/>
              </a:lnSpc>
            </a:pPr>
            <a:r>
              <a:rPr lang="en-US" sz="5000" dirty="0" smtClean="0">
                <a:solidFill>
                  <a:srgbClr val="2F2325"/>
                </a:solidFill>
                <a:latin typeface="Arial" panose="020B0604020202020204" pitchFamily="34" charset="0"/>
                <a:cs typeface="Arial" panose="020B0604020202020204" pitchFamily="34" charset="0"/>
              </a:rPr>
              <a:t>Hình đôi nam nữ</a:t>
            </a:r>
            <a:endParaRPr lang="en-US" sz="5000" dirty="0" smtClean="0">
              <a:solidFill>
                <a:srgbClr val="2F2325"/>
              </a:solidFill>
              <a:latin typeface="Arial" panose="020B0604020202020204" pitchFamily="34" charset="0"/>
              <a:cs typeface="Arial" panose="020B0604020202020204" pitchFamily="34" charset="0"/>
            </a:endParaRPr>
          </a:p>
          <a:p>
            <a:pPr lvl="0" algn="ctr">
              <a:lnSpc>
                <a:spcPts val="6000"/>
              </a:lnSpc>
            </a:pPr>
            <a:r>
              <a:rPr lang="en-US" sz="5000" dirty="0" smtClean="0">
                <a:solidFill>
                  <a:srgbClr val="2F2325"/>
                </a:solidFill>
                <a:latin typeface="Arial" panose="020B0604020202020204" pitchFamily="34" charset="0"/>
                <a:cs typeface="Arial" panose="020B0604020202020204" pitchFamily="34" charset="0"/>
              </a:rPr>
              <a:t>giã gạo</a:t>
            </a:r>
            <a:endParaRPr lang="en-US" sz="5000" dirty="0">
              <a:solidFill>
                <a:srgbClr val="2F2325"/>
              </a:solidFill>
              <a:latin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2"/>
          <a:stretch>
            <a:fillRect/>
          </a:stretch>
        </p:blipFill>
        <p:spPr>
          <a:xfrm>
            <a:off x="8305800" y="1181100"/>
            <a:ext cx="8763000" cy="7239000"/>
          </a:xfrm>
          <a:prstGeom prst="rect">
            <a:avLst/>
          </a:prstGeom>
          <a:ln>
            <a:noFill/>
          </a:ln>
          <a:effectLst>
            <a:softEdge rad="112500"/>
          </a:effectLst>
        </p:spPr>
      </p:pic>
      <p:sp>
        <p:nvSpPr>
          <p:cNvPr id="7" name="TextBox 2"/>
          <p:cNvSpPr txBox="1"/>
          <p:nvPr/>
        </p:nvSpPr>
        <p:spPr>
          <a:xfrm>
            <a:off x="8305800" y="8957220"/>
            <a:ext cx="8763000" cy="769441"/>
          </a:xfrm>
          <a:prstGeom prst="rect">
            <a:avLst/>
          </a:prstGeom>
        </p:spPr>
        <p:txBody>
          <a:bodyPr wrap="square" lIns="0" tIns="0" rIns="0" bIns="0" rtlCol="0" anchor="t">
            <a:spAutoFit/>
          </a:bodyPr>
          <a:lstStyle/>
          <a:p>
            <a:pPr lvl="0" algn="ctr">
              <a:lnSpc>
                <a:spcPts val="6000"/>
              </a:lnSpc>
            </a:pPr>
            <a:r>
              <a:rPr lang="en-US" sz="5000" dirty="0" smtClean="0">
                <a:solidFill>
                  <a:srgbClr val="2F2325"/>
                </a:solidFill>
                <a:latin typeface="Arial" panose="020B0604020202020204" pitchFamily="34" charset="0"/>
                <a:cs typeface="Arial" panose="020B0604020202020204" pitchFamily="34" charset="0"/>
              </a:rPr>
              <a:t>Hình nhà sàn</a:t>
            </a:r>
            <a:endParaRPr lang="en-US" sz="5000" dirty="0">
              <a:solidFill>
                <a:srgbClr val="2F2325"/>
              </a:solidFill>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barn(inVertical)">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barn(inVertical)">
                                      <p:cBhvr>
                                        <p:cTn id="15" dur="500"/>
                                        <p:tgtEl>
                                          <p:spTgt spid="6"/>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barn(inVertical)">
                                      <p:cBhvr>
                                        <p:cTn id="1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F3CB63"/>
        </a:solidFill>
        <a:effectLst/>
      </p:bgPr>
    </p:bg>
    <p:spTree>
      <p:nvGrpSpPr>
        <p:cNvPr id="1" name=""/>
        <p:cNvGrpSpPr/>
        <p:nvPr/>
      </p:nvGrpSpPr>
      <p:grpSpPr>
        <a:xfrm>
          <a:off x="0" y="0"/>
          <a:ext cx="0" cy="0"/>
          <a:chOff x="0" y="0"/>
          <a:chExt cx="0" cy="0"/>
        </a:xfrm>
      </p:grpSpPr>
      <p:sp>
        <p:nvSpPr>
          <p:cNvPr id="5" name="TextBox 2"/>
          <p:cNvSpPr txBox="1"/>
          <p:nvPr/>
        </p:nvSpPr>
        <p:spPr>
          <a:xfrm>
            <a:off x="762000" y="9217619"/>
            <a:ext cx="7162800" cy="769441"/>
          </a:xfrm>
          <a:prstGeom prst="rect">
            <a:avLst/>
          </a:prstGeom>
        </p:spPr>
        <p:txBody>
          <a:bodyPr wrap="square" lIns="0" tIns="0" rIns="0" bIns="0" rtlCol="0" anchor="t">
            <a:spAutoFit/>
          </a:bodyPr>
          <a:lstStyle/>
          <a:p>
            <a:pPr lvl="0" algn="ctr">
              <a:lnSpc>
                <a:spcPts val="6000"/>
              </a:lnSpc>
            </a:pPr>
            <a:r>
              <a:rPr lang="en-US" sz="5000" dirty="0" smtClean="0">
                <a:solidFill>
                  <a:srgbClr val="2F2325"/>
                </a:solidFill>
                <a:latin typeface="Arial" panose="020B0604020202020204" pitchFamily="34" charset="0"/>
                <a:cs typeface="Arial" panose="020B0604020202020204" pitchFamily="34" charset="0"/>
              </a:rPr>
              <a:t>Hình thuyền </a:t>
            </a:r>
            <a:endParaRPr lang="en-US" sz="5000" dirty="0">
              <a:solidFill>
                <a:srgbClr val="2F2325"/>
              </a:solidFill>
              <a:latin typeface="Arial" panose="020B0604020202020204" pitchFamily="34" charset="0"/>
              <a:cs typeface="Arial" panose="020B0604020202020204" pitchFamily="34" charset="0"/>
            </a:endParaRPr>
          </a:p>
        </p:txBody>
      </p:sp>
      <p:sp>
        <p:nvSpPr>
          <p:cNvPr id="7" name="TextBox 2"/>
          <p:cNvSpPr txBox="1"/>
          <p:nvPr/>
        </p:nvSpPr>
        <p:spPr>
          <a:xfrm>
            <a:off x="8686800" y="9217619"/>
            <a:ext cx="8534400" cy="769441"/>
          </a:xfrm>
          <a:prstGeom prst="rect">
            <a:avLst/>
          </a:prstGeom>
        </p:spPr>
        <p:txBody>
          <a:bodyPr wrap="square" lIns="0" tIns="0" rIns="0" bIns="0" rtlCol="0" anchor="t">
            <a:spAutoFit/>
          </a:bodyPr>
          <a:lstStyle/>
          <a:p>
            <a:pPr lvl="0" algn="ctr">
              <a:lnSpc>
                <a:spcPts val="6000"/>
              </a:lnSpc>
            </a:pPr>
            <a:r>
              <a:rPr lang="en-US" sz="5000" dirty="0" smtClean="0">
                <a:solidFill>
                  <a:srgbClr val="2F2325"/>
                </a:solidFill>
                <a:latin typeface="Arial" panose="020B0604020202020204" pitchFamily="34" charset="0"/>
                <a:cs typeface="Arial" panose="020B0604020202020204" pitchFamily="34" charset="0"/>
              </a:rPr>
              <a:t>Hình người hóa trang</a:t>
            </a:r>
            <a:endParaRPr lang="en-US" sz="5000" dirty="0">
              <a:solidFill>
                <a:srgbClr val="2F2325"/>
              </a:solidFill>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1"/>
          <a:stretch>
            <a:fillRect/>
          </a:stretch>
        </p:blipFill>
        <p:spPr>
          <a:xfrm>
            <a:off x="762000" y="952499"/>
            <a:ext cx="7162800" cy="8265119"/>
          </a:xfrm>
          <a:prstGeom prst="rect">
            <a:avLst/>
          </a:prstGeom>
          <a:ln>
            <a:noFill/>
          </a:ln>
          <a:effectLst>
            <a:softEdge rad="112500"/>
          </a:effectLst>
        </p:spPr>
      </p:pic>
      <p:pic>
        <p:nvPicPr>
          <p:cNvPr id="8" name="Picture 7"/>
          <p:cNvPicPr>
            <a:picLocks noChangeAspect="1"/>
          </p:cNvPicPr>
          <p:nvPr/>
        </p:nvPicPr>
        <p:blipFill>
          <a:blip r:embed="rId2"/>
          <a:stretch>
            <a:fillRect/>
          </a:stretch>
        </p:blipFill>
        <p:spPr>
          <a:xfrm>
            <a:off x="8991600" y="952500"/>
            <a:ext cx="8534400" cy="8153400"/>
          </a:xfrm>
          <a:prstGeom prst="rect">
            <a:avLst/>
          </a:prstGeom>
          <a:ln>
            <a:noFill/>
          </a:ln>
          <a:effectLst>
            <a:softEdge rad="112500"/>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ipe(down)">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down)">
                                      <p:cBhvr>
                                        <p:cTn id="15" dur="500"/>
                                        <p:tgtEl>
                                          <p:spTgt spid="8"/>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wipe(down)">
                                      <p:cBhvr>
                                        <p:cTn id="1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F4F4F4"/>
        </a:solidFill>
        <a:effectLst/>
      </p:bgPr>
    </p:bg>
    <p:spTree>
      <p:nvGrpSpPr>
        <p:cNvPr id="1" name=""/>
        <p:cNvGrpSpPr/>
        <p:nvPr/>
      </p:nvGrpSpPr>
      <p:grpSpPr>
        <a:xfrm>
          <a:off x="0" y="0"/>
          <a:ext cx="0" cy="0"/>
          <a:chOff x="0" y="0"/>
          <a:chExt cx="0" cy="0"/>
        </a:xfrm>
      </p:grpSpPr>
      <p:pic>
        <p:nvPicPr>
          <p:cNvPr id="4" name="Picture 4"/>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a:off x="5550971" y="1997432"/>
            <a:ext cx="7186055" cy="761026"/>
          </a:xfrm>
          <a:prstGeom prst="rect">
            <a:avLst/>
          </a:prstGeom>
        </p:spPr>
      </p:pic>
      <p:sp>
        <p:nvSpPr>
          <p:cNvPr id="30" name="Rectangle 29"/>
          <p:cNvSpPr/>
          <p:nvPr/>
        </p:nvSpPr>
        <p:spPr>
          <a:xfrm>
            <a:off x="0" y="1007417"/>
            <a:ext cx="18287999" cy="990015"/>
          </a:xfrm>
          <a:prstGeom prst="rect">
            <a:avLst/>
          </a:prstGeom>
        </p:spPr>
        <p:txBody>
          <a:bodyPr wrap="square">
            <a:spAutoFit/>
          </a:bodyPr>
          <a:lstStyle/>
          <a:p>
            <a:pPr algn="ctr">
              <a:lnSpc>
                <a:spcPts val="7000"/>
              </a:lnSpc>
            </a:pPr>
            <a:r>
              <a:rPr lang="nl-NL" sz="5500" b="1" dirty="0" smtClean="0">
                <a:solidFill>
                  <a:srgbClr val="000000"/>
                </a:solidFill>
                <a:latin typeface="Arial" panose="020B0604020202020204" pitchFamily="34" charset="0"/>
                <a:ea typeface="Calibri" panose="020F0502020204030204" charset="0"/>
                <a:cs typeface="Arial" panose="020B0604020202020204" pitchFamily="34" charset="0"/>
              </a:rPr>
              <a:t>b. Đời sống tinh thần</a:t>
            </a:r>
            <a:endParaRPr lang="en-US" sz="5500" b="1" dirty="0">
              <a:effectLst/>
              <a:latin typeface="Arial" panose="020B0604020202020204" pitchFamily="34" charset="0"/>
              <a:ea typeface="Calibri" panose="020F0502020204030204" charset="0"/>
              <a:cs typeface="Arial" panose="020B0604020202020204" pitchFamily="34" charset="0"/>
            </a:endParaRPr>
          </a:p>
        </p:txBody>
      </p:sp>
      <p:sp>
        <p:nvSpPr>
          <p:cNvPr id="34" name="Rectangle 33"/>
          <p:cNvSpPr/>
          <p:nvPr/>
        </p:nvSpPr>
        <p:spPr>
          <a:xfrm>
            <a:off x="762000" y="4838700"/>
            <a:ext cx="8993330" cy="2015936"/>
          </a:xfrm>
          <a:prstGeom prst="rect">
            <a:avLst/>
          </a:prstGeom>
        </p:spPr>
        <p:txBody>
          <a:bodyPr wrap="square">
            <a:spAutoFit/>
          </a:bodyPr>
          <a:lstStyle/>
          <a:p>
            <a:pPr algn="just">
              <a:lnSpc>
                <a:spcPts val="7500"/>
              </a:lnSpc>
            </a:pPr>
            <a:r>
              <a:rPr lang="en-US" sz="5000" dirty="0" smtClean="0">
                <a:solidFill>
                  <a:srgbClr val="000000"/>
                </a:solidFill>
                <a:latin typeface="Arial" panose="020B0604020202020204" pitchFamily="34" charset="0"/>
                <a:ea typeface="Calibri" panose="020F0502020204030204" charset="0"/>
                <a:cs typeface="Arial" panose="020B0604020202020204" pitchFamily="34" charset="0"/>
              </a:rPr>
              <a:t>Mô tả đời sống tinh thần của cư dân Văn Lang, Âu Lạc. </a:t>
            </a:r>
            <a:endParaRPr lang="en-US" sz="5000" dirty="0">
              <a:latin typeface="Arial" panose="020B0604020202020204" pitchFamily="34" charset="0"/>
              <a:ea typeface="Calibri" panose="020F0502020204030204" charset="0"/>
              <a:cs typeface="Arial" panose="020B0604020202020204" pitchFamily="34" charset="0"/>
            </a:endParaRPr>
          </a:p>
        </p:txBody>
      </p:sp>
      <p:pic>
        <p:nvPicPr>
          <p:cNvPr id="2" name="Picture 1"/>
          <p:cNvPicPr>
            <a:picLocks noChangeAspect="1"/>
          </p:cNvPicPr>
          <p:nvPr/>
        </p:nvPicPr>
        <p:blipFill>
          <a:blip r:embed="rId3"/>
          <a:stretch>
            <a:fillRect/>
          </a:stretch>
        </p:blipFill>
        <p:spPr>
          <a:xfrm>
            <a:off x="9982200" y="2987447"/>
            <a:ext cx="7848600" cy="7015647"/>
          </a:xfrm>
          <a:prstGeom prst="rect">
            <a:avLst/>
          </a:prstGeom>
          <a:ln>
            <a:noFill/>
          </a:ln>
          <a:effectLst>
            <a:softEdge rad="112500"/>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barn(inVertical)">
                                      <p:cBhvr>
                                        <p:cTn id="7" dur="500"/>
                                        <p:tgtEl>
                                          <p:spTgt spid="30"/>
                                        </p:tgtEl>
                                      </p:cBhvr>
                                    </p:animEffect>
                                  </p:childTnLst>
                                </p:cTn>
                              </p:par>
                              <p:par>
                                <p:cTn id="8" presetID="16" presetClass="entr" presetSubtype="21"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barn(inVertical)">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grpId="0" nodeType="click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barn(inVertical)">
                                      <p:cBhvr>
                                        <p:cTn id="15" dur="500"/>
                                        <p:tgtEl>
                                          <p:spTgt spid="34"/>
                                        </p:tgtEl>
                                      </p:cBhvr>
                                    </p:animEffect>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nodeType="click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barn(inVertical)">
                                      <p:cBhvr>
                                        <p:cTn id="2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4" grpId="0"/>
    </p:bld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FFF9EA"/>
        </a:solidFill>
        <a:effectLst/>
      </p:bgPr>
    </p:bg>
    <p:spTree>
      <p:nvGrpSpPr>
        <p:cNvPr id="1" name=""/>
        <p:cNvGrpSpPr/>
        <p:nvPr/>
      </p:nvGrpSpPr>
      <p:grpSpPr>
        <a:xfrm>
          <a:off x="0" y="0"/>
          <a:ext cx="0" cy="0"/>
          <a:chOff x="0" y="0"/>
          <a:chExt cx="0" cy="0"/>
        </a:xfrm>
      </p:grpSpPr>
      <p:sp>
        <p:nvSpPr>
          <p:cNvPr id="10" name="TextBox 10"/>
          <p:cNvSpPr txBox="1"/>
          <p:nvPr/>
        </p:nvSpPr>
        <p:spPr>
          <a:xfrm>
            <a:off x="0" y="1181100"/>
            <a:ext cx="18288000" cy="1154162"/>
          </a:xfrm>
          <a:prstGeom prst="rect">
            <a:avLst/>
          </a:prstGeom>
        </p:spPr>
        <p:txBody>
          <a:bodyPr wrap="square" lIns="0" tIns="0" rIns="0" bIns="0" rtlCol="0" anchor="t">
            <a:spAutoFit/>
          </a:bodyPr>
          <a:lstStyle/>
          <a:p>
            <a:pPr algn="ctr">
              <a:lnSpc>
                <a:spcPts val="8960"/>
              </a:lnSpc>
              <a:spcBef>
                <a:spcPct val="0"/>
              </a:spcBef>
            </a:pPr>
            <a:r>
              <a:rPr lang="en-US" sz="5000" b="1" dirty="0" smtClean="0">
                <a:solidFill>
                  <a:srgbClr val="493423"/>
                </a:solidFill>
                <a:latin typeface="Arial" panose="020B0604020202020204" pitchFamily="34" charset="0"/>
                <a:cs typeface="Arial" panose="020B0604020202020204" pitchFamily="34" charset="0"/>
              </a:rPr>
              <a:t>Đời sống tinh thần của cư dân Văn Lang, Âu Lạc</a:t>
            </a:r>
            <a:endParaRPr lang="en-US" sz="5000" b="1" dirty="0">
              <a:solidFill>
                <a:srgbClr val="493423"/>
              </a:solidFill>
              <a:latin typeface="Arial" panose="020B0604020202020204" pitchFamily="34" charset="0"/>
              <a:cs typeface="Arial" panose="020B0604020202020204" pitchFamily="34" charset="0"/>
            </a:endParaRPr>
          </a:p>
        </p:txBody>
      </p:sp>
      <p:graphicFrame>
        <p:nvGraphicFramePr>
          <p:cNvPr id="16" name="Table 15"/>
          <p:cNvGraphicFramePr>
            <a:graphicFrameLocks noGrp="1"/>
          </p:cNvGraphicFramePr>
          <p:nvPr/>
        </p:nvGraphicFramePr>
        <p:xfrm>
          <a:off x="762000" y="2507862"/>
          <a:ext cx="17145001" cy="3682238"/>
        </p:xfrm>
        <a:graphic>
          <a:graphicData uri="http://schemas.openxmlformats.org/drawingml/2006/table">
            <a:tbl>
              <a:tblPr firstRow="1" bandRow="1">
                <a:tableStyleId>{F5AB1C69-6EDB-4FF4-983F-18BD219EF322}</a:tableStyleId>
              </a:tblPr>
              <a:tblGrid>
                <a:gridCol w="3962402"/>
                <a:gridCol w="13182599"/>
              </a:tblGrid>
              <a:tr h="1905000">
                <a:tc>
                  <a:txBody>
                    <a:bodyPr/>
                    <a:lstStyle/>
                    <a:p>
                      <a:pPr algn="ctr">
                        <a:lnSpc>
                          <a:spcPts val="7000"/>
                        </a:lnSpc>
                      </a:pPr>
                      <a:r>
                        <a:rPr lang="en-US" sz="4500" b="0" dirty="0" smtClean="0">
                          <a:solidFill>
                            <a:schemeClr val="tx1">
                              <a:lumMod val="95000"/>
                              <a:lumOff val="5000"/>
                            </a:schemeClr>
                          </a:solidFill>
                          <a:latin typeface="Arial" panose="020B0604020202020204" pitchFamily="34" charset="0"/>
                          <a:cs typeface="Arial" panose="020B0604020202020204" pitchFamily="34" charset="0"/>
                        </a:rPr>
                        <a:t>Tín</a:t>
                      </a:r>
                      <a:r>
                        <a:rPr lang="en-US" sz="4500" b="0" baseline="0" dirty="0" smtClean="0">
                          <a:solidFill>
                            <a:schemeClr val="tx1">
                              <a:lumMod val="95000"/>
                              <a:lumOff val="5000"/>
                            </a:schemeClr>
                          </a:solidFill>
                          <a:latin typeface="Arial" panose="020B0604020202020204" pitchFamily="34" charset="0"/>
                          <a:cs typeface="Arial" panose="020B0604020202020204" pitchFamily="34" charset="0"/>
                        </a:rPr>
                        <a:t> ngưỡng </a:t>
                      </a:r>
                      <a:endParaRPr lang="en-US" sz="4500" b="0" dirty="0">
                        <a:solidFill>
                          <a:schemeClr val="tx1">
                            <a:lumMod val="95000"/>
                            <a:lumOff val="5000"/>
                          </a:schemeClr>
                        </a:solidFill>
                        <a:latin typeface="Arial" panose="020B0604020202020204" pitchFamily="34" charset="0"/>
                        <a:cs typeface="Arial" panose="020B0604020202020204" pitchFamily="34" charset="0"/>
                      </a:endParaRPr>
                    </a:p>
                  </a:txBody>
                  <a:tcPr>
                    <a:solidFill>
                      <a:schemeClr val="accent3">
                        <a:lumMod val="40000"/>
                        <a:lumOff val="60000"/>
                      </a:schemeClr>
                    </a:solidFill>
                  </a:tcPr>
                </a:tc>
                <a:tc>
                  <a:txBody>
                    <a:bodyPr/>
                    <a:lstStyle/>
                    <a:p>
                      <a:pPr algn="just">
                        <a:lnSpc>
                          <a:spcPts val="7000"/>
                        </a:lnSpc>
                      </a:pPr>
                      <a:r>
                        <a:rPr lang="en-US" sz="4500" b="0" dirty="0" smtClean="0">
                          <a:solidFill>
                            <a:schemeClr val="tx1">
                              <a:lumMod val="95000"/>
                              <a:lumOff val="5000"/>
                            </a:schemeClr>
                          </a:solidFill>
                          <a:latin typeface="Arial" panose="020B0604020202020204" pitchFamily="34" charset="0"/>
                          <a:cs typeface="Arial" panose="020B0604020202020204" pitchFamily="34" charset="0"/>
                        </a:rPr>
                        <a:t>Thờ</a:t>
                      </a:r>
                      <a:r>
                        <a:rPr lang="en-US" sz="4500" b="0" baseline="0" dirty="0" smtClean="0">
                          <a:solidFill>
                            <a:schemeClr val="tx1">
                              <a:lumMod val="95000"/>
                              <a:lumOff val="5000"/>
                            </a:schemeClr>
                          </a:solidFill>
                          <a:latin typeface="Arial" panose="020B0604020202020204" pitchFamily="34" charset="0"/>
                          <a:cs typeface="Arial" panose="020B0604020202020204" pitchFamily="34" charset="0"/>
                        </a:rPr>
                        <a:t> cúng tổ tiên, thờ các vị thần tự nhiên: thần sông, thần núi, thần Mặt trời</a:t>
                      </a:r>
                      <a:endParaRPr lang="en-US" sz="4500" b="0" dirty="0">
                        <a:solidFill>
                          <a:schemeClr val="tx1">
                            <a:lumMod val="95000"/>
                            <a:lumOff val="5000"/>
                          </a:schemeClr>
                        </a:solidFill>
                        <a:latin typeface="Arial" panose="020B0604020202020204" pitchFamily="34" charset="0"/>
                        <a:cs typeface="Arial" panose="020B0604020202020204" pitchFamily="34" charset="0"/>
                      </a:endParaRPr>
                    </a:p>
                  </a:txBody>
                  <a:tcPr>
                    <a:solidFill>
                      <a:schemeClr val="accent3">
                        <a:lumMod val="40000"/>
                        <a:lumOff val="60000"/>
                      </a:schemeClr>
                    </a:solidFill>
                  </a:tcPr>
                </a:tc>
              </a:tr>
              <a:tr h="370840">
                <a:tc>
                  <a:txBody>
                    <a:bodyPr/>
                    <a:lstStyle/>
                    <a:p>
                      <a:pPr algn="ctr">
                        <a:lnSpc>
                          <a:spcPts val="7000"/>
                        </a:lnSpc>
                      </a:pPr>
                      <a:r>
                        <a:rPr lang="en-US" sz="4500" dirty="0" smtClean="0">
                          <a:latin typeface="Arial" panose="020B0604020202020204" pitchFamily="34" charset="0"/>
                          <a:cs typeface="Arial" panose="020B0604020202020204" pitchFamily="34" charset="0"/>
                        </a:rPr>
                        <a:t>Phong tục</a:t>
                      </a:r>
                      <a:endParaRPr lang="en-US" sz="4500" dirty="0">
                        <a:latin typeface="Arial" panose="020B0604020202020204" pitchFamily="34" charset="0"/>
                        <a:cs typeface="Arial" panose="020B0604020202020204" pitchFamily="34" charset="0"/>
                      </a:endParaRPr>
                    </a:p>
                  </a:txBody>
                  <a:tcPr/>
                </a:tc>
                <a:tc>
                  <a:txBody>
                    <a:bodyPr/>
                    <a:lstStyle/>
                    <a:p>
                      <a:pPr algn="just">
                        <a:lnSpc>
                          <a:spcPts val="7000"/>
                        </a:lnSpc>
                      </a:pPr>
                      <a:r>
                        <a:rPr lang="en-US" sz="4500" dirty="0" smtClean="0">
                          <a:latin typeface="Arial" panose="020B0604020202020204" pitchFamily="34" charset="0"/>
                          <a:cs typeface="Arial" panose="020B0604020202020204" pitchFamily="34" charset="0"/>
                        </a:rPr>
                        <a:t>Ă</a:t>
                      </a:r>
                      <a:r>
                        <a:rPr lang="vi-VN" sz="4500" dirty="0" smtClean="0">
                          <a:latin typeface="+mn-lt"/>
                          <a:cs typeface="Arial" panose="020B0604020202020204" pitchFamily="34" charset="0"/>
                        </a:rPr>
                        <a:t>n trầu, nhuộm răng đen, xăm mình</a:t>
                      </a:r>
                      <a:r>
                        <a:rPr lang="en-US" sz="4500" dirty="0" smtClean="0">
                          <a:latin typeface="+mn-lt"/>
                          <a:cs typeface="Arial" panose="020B0604020202020204" pitchFamily="34" charset="0"/>
                        </a:rPr>
                        <a:t>, </a:t>
                      </a:r>
                      <a:r>
                        <a:rPr lang="en-US" sz="4500" dirty="0" smtClean="0">
                          <a:latin typeface="Arial" panose="020B0604020202020204" pitchFamily="34" charset="0"/>
                          <a:cs typeface="Arial" panose="020B0604020202020204" pitchFamily="34" charset="0"/>
                        </a:rPr>
                        <a:t>làm</a:t>
                      </a:r>
                      <a:r>
                        <a:rPr lang="en-US" sz="4500" baseline="0" dirty="0" smtClean="0">
                          <a:latin typeface="Arial" panose="020B0604020202020204" pitchFamily="34" charset="0"/>
                          <a:cs typeface="Arial" panose="020B0604020202020204" pitchFamily="34" charset="0"/>
                        </a:rPr>
                        <a:t> bánh chưng bánh giày</a:t>
                      </a:r>
                      <a:r>
                        <a:rPr lang="vi-VN" sz="4500" dirty="0" smtClean="0">
                          <a:latin typeface="Arial" panose="020B0604020202020204" pitchFamily="34" charset="0"/>
                          <a:cs typeface="Arial" panose="020B0604020202020204" pitchFamily="34" charset="0"/>
                        </a:rPr>
                        <a:t>. </a:t>
                      </a:r>
                      <a:endParaRPr lang="en-US" sz="4500" dirty="0">
                        <a:latin typeface="Arial" panose="020B0604020202020204" pitchFamily="34" charset="0"/>
                        <a:cs typeface="Arial" panose="020B0604020202020204" pitchFamily="34" charset="0"/>
                      </a:endParaRPr>
                    </a:p>
                  </a:txBody>
                  <a:tcPr/>
                </a:tc>
              </a:tr>
            </a:tbl>
          </a:graphicData>
        </a:graphic>
      </p:graphicFrame>
      <p:pic>
        <p:nvPicPr>
          <p:cNvPr id="4" name="Picture 21"/>
          <p:cNvPicPr>
            <a:picLocks noChangeAspect="1"/>
          </p:cNvPicPr>
          <p:nvPr/>
        </p:nvPicPr>
        <p:blipFill>
          <a:blip/>
          <a:srcRect/>
          <a:stretch>
            <a:fillRect/>
          </a:stretch>
        </p:blipFill>
        <p:spPr>
          <a:xfrm>
            <a:off x="7010400" y="6362700"/>
            <a:ext cx="3962400" cy="4033254"/>
          </a:xfrm>
          <a:prstGeom prst="rect">
            <a:avLst/>
          </a:prstGeom>
        </p:spPr>
      </p:pic>
      <p:pic>
        <p:nvPicPr>
          <p:cNvPr id="5" name="Picture 8"/>
          <p:cNvPicPr>
            <a:picLocks noChangeAspect="1"/>
          </p:cNvPicPr>
          <p:nvPr/>
        </p:nvPicPr>
        <p:blipFill>
          <a:blip/>
          <a:srcRect/>
          <a:stretch>
            <a:fillRect/>
          </a:stretch>
        </p:blipFill>
        <p:spPr>
          <a:xfrm rot="-8465734">
            <a:off x="15565206" y="6821175"/>
            <a:ext cx="2712054" cy="3692152"/>
          </a:xfrm>
          <a:prstGeom prst="rect">
            <a:avLst/>
          </a:prstGeom>
        </p:spPr>
      </p:pic>
      <p:pic>
        <p:nvPicPr>
          <p:cNvPr id="6" name="Picture 5"/>
          <p:cNvPicPr>
            <a:picLocks noChangeAspect="1"/>
          </p:cNvPicPr>
          <p:nvPr/>
        </p:nvPicPr>
        <p:blipFill>
          <a:blip/>
          <a:srcRect/>
          <a:stretch>
            <a:fillRect/>
          </a:stretch>
        </p:blipFill>
        <p:spPr>
          <a:xfrm rot="-2781173">
            <a:off x="150767" y="6785132"/>
            <a:ext cx="2586377" cy="3419488"/>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wheel(1)">
                                      <p:cBhvr>
                                        <p:cTn id="12" dur="20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barn(inVertical)">
                                      <p:cBhvr>
                                        <p:cTn id="1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FFD352"/>
        </a:solidFill>
        <a:effectLst/>
      </p:bgPr>
    </p:bg>
    <p:spTree>
      <p:nvGrpSpPr>
        <p:cNvPr id="1" name=""/>
        <p:cNvGrpSpPr/>
        <p:nvPr/>
      </p:nvGrpSpPr>
      <p:grpSpPr>
        <a:xfrm>
          <a:off x="0" y="0"/>
          <a:ext cx="0" cy="0"/>
          <a:chOff x="0" y="0"/>
          <a:chExt cx="0" cy="0"/>
        </a:xfrm>
      </p:grpSpPr>
      <p:sp>
        <p:nvSpPr>
          <p:cNvPr id="13" name="TextBox 2"/>
          <p:cNvSpPr txBox="1"/>
          <p:nvPr/>
        </p:nvSpPr>
        <p:spPr>
          <a:xfrm>
            <a:off x="-152400" y="1028700"/>
            <a:ext cx="18287999" cy="1795363"/>
          </a:xfrm>
          <a:prstGeom prst="rect">
            <a:avLst/>
          </a:prstGeom>
        </p:spPr>
        <p:txBody>
          <a:bodyPr wrap="square" lIns="0" tIns="0" rIns="0" bIns="0" rtlCol="0" anchor="t">
            <a:spAutoFit/>
          </a:bodyPr>
          <a:lstStyle/>
          <a:p>
            <a:pPr algn="ctr">
              <a:lnSpc>
                <a:spcPts val="7000"/>
              </a:lnSpc>
            </a:pPr>
            <a:r>
              <a:rPr lang="en-US" sz="5700" b="1" dirty="0" smtClean="0">
                <a:solidFill>
                  <a:srgbClr val="000000"/>
                </a:solidFill>
                <a:latin typeface="Arial" panose="020B0604020202020204" pitchFamily="34" charset="0"/>
                <a:cs typeface="Arial" panose="020B0604020202020204" pitchFamily="34" charset="0"/>
              </a:rPr>
              <a:t>Thảo luận và trả lời câu hỏi</a:t>
            </a:r>
            <a:endParaRPr lang="en-US" sz="5700" b="1" dirty="0" smtClean="0">
              <a:solidFill>
                <a:srgbClr val="000000"/>
              </a:solidFill>
              <a:latin typeface="Arial" panose="020B0604020202020204" pitchFamily="34" charset="0"/>
              <a:cs typeface="Arial" panose="020B0604020202020204" pitchFamily="34" charset="0"/>
            </a:endParaRPr>
          </a:p>
          <a:p>
            <a:pPr algn="ctr">
              <a:lnSpc>
                <a:spcPts val="7000"/>
              </a:lnSpc>
            </a:pPr>
            <a:r>
              <a:rPr lang="en-US" sz="5700" b="1" dirty="0" smtClean="0">
                <a:solidFill>
                  <a:srgbClr val="000000"/>
                </a:solidFill>
                <a:latin typeface="Arial" panose="020B0604020202020204" pitchFamily="34" charset="0"/>
                <a:cs typeface="Arial" panose="020B0604020202020204" pitchFamily="34" charset="0"/>
              </a:rPr>
              <a:t>Vào Phiếu học tập số 2</a:t>
            </a:r>
            <a:endParaRPr lang="en-US" sz="5700" b="1" dirty="0">
              <a:solidFill>
                <a:srgbClr val="000000"/>
              </a:solidFill>
              <a:latin typeface="Arial" panose="020B0604020202020204" pitchFamily="34" charset="0"/>
              <a:cs typeface="Arial" panose="020B0604020202020204" pitchFamily="34" charset="0"/>
            </a:endParaRPr>
          </a:p>
        </p:txBody>
      </p:sp>
      <p:pic>
        <p:nvPicPr>
          <p:cNvPr id="15" name="Picture 4"/>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flipH="1">
            <a:off x="1272154" y="3553587"/>
            <a:ext cx="2895600" cy="2146957"/>
          </a:xfrm>
          <a:prstGeom prst="rect">
            <a:avLst/>
          </a:prstGeom>
        </p:spPr>
      </p:pic>
      <p:pic>
        <p:nvPicPr>
          <p:cNvPr id="25" name="Picture 12"/>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rot="-9807862">
            <a:off x="14434769" y="1098825"/>
            <a:ext cx="1657449" cy="1461568"/>
          </a:xfrm>
          <a:prstGeom prst="rect">
            <a:avLst/>
          </a:prstGeom>
        </p:spPr>
      </p:pic>
      <p:sp>
        <p:nvSpPr>
          <p:cNvPr id="26" name="Rectangle 25"/>
          <p:cNvSpPr/>
          <p:nvPr/>
        </p:nvSpPr>
        <p:spPr>
          <a:xfrm>
            <a:off x="4648201" y="3782005"/>
            <a:ext cx="8686800" cy="1887696"/>
          </a:xfrm>
          <a:prstGeom prst="rect">
            <a:avLst/>
          </a:prstGeom>
        </p:spPr>
        <p:txBody>
          <a:bodyPr wrap="square">
            <a:spAutoFit/>
          </a:bodyPr>
          <a:lstStyle/>
          <a:p>
            <a:pPr algn="just">
              <a:lnSpc>
                <a:spcPts val="7000"/>
              </a:lnSpc>
            </a:pPr>
            <a:r>
              <a:rPr lang="fr-FR" sz="5000" dirty="0" smtClean="0">
                <a:solidFill>
                  <a:srgbClr val="000000"/>
                </a:solidFill>
                <a:latin typeface="Arial" panose="020B0604020202020204" pitchFamily="34" charset="0"/>
                <a:ea typeface="Calibri" panose="020F0502020204030204" charset="0"/>
                <a:cs typeface="Arial" panose="020B0604020202020204" pitchFamily="34" charset="0"/>
              </a:rPr>
              <a:t>Kể tên các câu </a:t>
            </a:r>
            <a:r>
              <a:rPr lang="fr-FR" sz="5000" dirty="0">
                <a:solidFill>
                  <a:srgbClr val="000000"/>
                </a:solidFill>
                <a:latin typeface="Arial" panose="020B0604020202020204" pitchFamily="34" charset="0"/>
                <a:ea typeface="Calibri" panose="020F0502020204030204" charset="0"/>
                <a:cs typeface="Arial" panose="020B0604020202020204" pitchFamily="34" charset="0"/>
              </a:rPr>
              <a:t>ca dao, truyền thuyết nào nói về trầu </a:t>
            </a:r>
            <a:r>
              <a:rPr lang="fr-FR" sz="5000" dirty="0" smtClean="0">
                <a:solidFill>
                  <a:srgbClr val="000000"/>
                </a:solidFill>
                <a:latin typeface="Arial" panose="020B0604020202020204" pitchFamily="34" charset="0"/>
                <a:ea typeface="Calibri" panose="020F0502020204030204" charset="0"/>
                <a:cs typeface="Arial" panose="020B0604020202020204" pitchFamily="34" charset="0"/>
              </a:rPr>
              <a:t>cau</a:t>
            </a:r>
            <a:endParaRPr lang="en-US" sz="5000" dirty="0">
              <a:effectLst/>
              <a:latin typeface="Arial" panose="020B0604020202020204" pitchFamily="34" charset="0"/>
              <a:ea typeface="Calibri" panose="020F0502020204030204" charset="0"/>
              <a:cs typeface="Arial" panose="020B0604020202020204" pitchFamily="34" charset="0"/>
            </a:endParaRPr>
          </a:p>
        </p:txBody>
      </p:sp>
      <p:sp>
        <p:nvSpPr>
          <p:cNvPr id="27" name="Rectangle 26"/>
          <p:cNvSpPr/>
          <p:nvPr/>
        </p:nvSpPr>
        <p:spPr>
          <a:xfrm>
            <a:off x="1555297" y="3996660"/>
            <a:ext cx="2534668" cy="861774"/>
          </a:xfrm>
          <a:prstGeom prst="rect">
            <a:avLst/>
          </a:prstGeom>
        </p:spPr>
        <p:txBody>
          <a:bodyPr wrap="none">
            <a:spAutoFit/>
          </a:bodyPr>
          <a:lstStyle/>
          <a:p>
            <a:r>
              <a:rPr lang="fr-FR" sz="5000" b="1" dirty="0">
                <a:solidFill>
                  <a:srgbClr val="000000"/>
                </a:solidFill>
                <a:latin typeface="Arial" panose="020B0604020202020204" pitchFamily="34" charset="0"/>
                <a:ea typeface="Calibri" panose="020F0502020204030204" charset="0"/>
                <a:cs typeface="Arial" panose="020B0604020202020204" pitchFamily="34" charset="0"/>
              </a:rPr>
              <a:t>Nhóm </a:t>
            </a:r>
            <a:r>
              <a:rPr lang="fr-FR" sz="5000" b="1" dirty="0" smtClean="0">
                <a:solidFill>
                  <a:srgbClr val="000000"/>
                </a:solidFill>
                <a:latin typeface="Arial" panose="020B0604020202020204" pitchFamily="34" charset="0"/>
                <a:ea typeface="Calibri" panose="020F0502020204030204" charset="0"/>
                <a:cs typeface="Arial" panose="020B0604020202020204" pitchFamily="34" charset="0"/>
              </a:rPr>
              <a:t>1</a:t>
            </a:r>
            <a:endParaRPr lang="en-US" sz="5000" b="1" dirty="0"/>
          </a:p>
        </p:txBody>
      </p:sp>
      <p:pic>
        <p:nvPicPr>
          <p:cNvPr id="30" name="Picture 4"/>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flipH="1">
            <a:off x="783009" y="6864786"/>
            <a:ext cx="2895600" cy="2146957"/>
          </a:xfrm>
          <a:prstGeom prst="rect">
            <a:avLst/>
          </a:prstGeom>
        </p:spPr>
      </p:pic>
      <p:sp>
        <p:nvSpPr>
          <p:cNvPr id="31" name="Rectangle 30"/>
          <p:cNvSpPr/>
          <p:nvPr/>
        </p:nvSpPr>
        <p:spPr>
          <a:xfrm>
            <a:off x="4057308" y="6627643"/>
            <a:ext cx="13967845" cy="2706895"/>
          </a:xfrm>
          <a:prstGeom prst="rect">
            <a:avLst/>
          </a:prstGeom>
        </p:spPr>
        <p:txBody>
          <a:bodyPr wrap="square">
            <a:spAutoFit/>
          </a:bodyPr>
          <a:lstStyle/>
          <a:p>
            <a:pPr algn="just">
              <a:lnSpc>
                <a:spcPts val="7000"/>
              </a:lnSpc>
            </a:pPr>
            <a:r>
              <a:rPr lang="vi-VN" sz="5000" dirty="0">
                <a:solidFill>
                  <a:srgbClr val="000000"/>
                </a:solidFill>
                <a:ea typeface="Calibri" panose="020F0502020204030204" charset="0"/>
                <a:cs typeface="Arial" panose="020B0604020202020204" pitchFamily="34" charset="0"/>
              </a:rPr>
              <a:t>Ngày Tết chúng ta thường làm những loại bánh gì? Những phong tục tập quán của người Việt cổ chịu sự chi phối của những yếu tố nào?</a:t>
            </a:r>
            <a:endParaRPr lang="en-US" sz="5000" dirty="0">
              <a:effectLst/>
              <a:latin typeface="Arial" panose="020B0604020202020204" pitchFamily="34" charset="0"/>
              <a:ea typeface="Calibri" panose="020F0502020204030204" charset="0"/>
              <a:cs typeface="Arial" panose="020B0604020202020204" pitchFamily="34" charset="0"/>
            </a:endParaRPr>
          </a:p>
        </p:txBody>
      </p:sp>
      <p:sp>
        <p:nvSpPr>
          <p:cNvPr id="32" name="Rectangle 31"/>
          <p:cNvSpPr/>
          <p:nvPr/>
        </p:nvSpPr>
        <p:spPr>
          <a:xfrm>
            <a:off x="1066152" y="7307859"/>
            <a:ext cx="2534668" cy="861774"/>
          </a:xfrm>
          <a:prstGeom prst="rect">
            <a:avLst/>
          </a:prstGeom>
        </p:spPr>
        <p:txBody>
          <a:bodyPr wrap="none">
            <a:spAutoFit/>
          </a:bodyPr>
          <a:lstStyle/>
          <a:p>
            <a:r>
              <a:rPr lang="fr-FR" sz="5000" b="1" dirty="0">
                <a:solidFill>
                  <a:srgbClr val="000000"/>
                </a:solidFill>
                <a:latin typeface="Arial" panose="020B0604020202020204" pitchFamily="34" charset="0"/>
                <a:ea typeface="Calibri" panose="020F0502020204030204" charset="0"/>
                <a:cs typeface="Arial" panose="020B0604020202020204" pitchFamily="34" charset="0"/>
              </a:rPr>
              <a:t>Nhóm </a:t>
            </a:r>
            <a:r>
              <a:rPr lang="fr-FR" sz="5000" b="1" dirty="0" smtClean="0">
                <a:solidFill>
                  <a:srgbClr val="000000"/>
                </a:solidFill>
                <a:latin typeface="Arial" panose="020B0604020202020204" pitchFamily="34" charset="0"/>
                <a:ea typeface="Calibri" panose="020F0502020204030204" charset="0"/>
                <a:cs typeface="Arial" panose="020B0604020202020204" pitchFamily="34" charset="0"/>
              </a:rPr>
              <a:t>2</a:t>
            </a:r>
            <a:endParaRPr lang="en-US" sz="5000" b="1"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arn(inVertical)">
                                      <p:cBhvr>
                                        <p:cTn id="7" dur="500"/>
                                        <p:tgtEl>
                                          <p:spTgt spid="13"/>
                                        </p:tgtEl>
                                      </p:cBhvr>
                                    </p:animEffect>
                                  </p:childTnLst>
                                </p:cTn>
                              </p:par>
                              <p:par>
                                <p:cTn id="8" presetID="16" presetClass="entr" presetSubtype="21" fill="hold"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barn(inVertical)">
                                      <p:cBhvr>
                                        <p:cTn id="10" dur="500"/>
                                        <p:tgtEl>
                                          <p:spTgt spid="25"/>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wipe(down)">
                                      <p:cBhvr>
                                        <p:cTn id="15" dur="500"/>
                                        <p:tgtEl>
                                          <p:spTgt spid="27"/>
                                        </p:tgtEl>
                                      </p:cBhvr>
                                    </p:animEffect>
                                  </p:childTnLst>
                                </p:cTn>
                              </p:par>
                              <p:par>
                                <p:cTn id="16" presetID="22" presetClass="entr" presetSubtype="4" fill="hold"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wipe(down)">
                                      <p:cBhvr>
                                        <p:cTn id="18" dur="500"/>
                                        <p:tgtEl>
                                          <p:spTgt spid="15"/>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wipe(down)">
                                      <p:cBhvr>
                                        <p:cTn id="21" dur="500"/>
                                        <p:tgtEl>
                                          <p:spTgt spid="26"/>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32"/>
                                        </p:tgtEl>
                                        <p:attrNameLst>
                                          <p:attrName>style.visibility</p:attrName>
                                        </p:attrNameLst>
                                      </p:cBhvr>
                                      <p:to>
                                        <p:strVal val="visible"/>
                                      </p:to>
                                    </p:set>
                                    <p:animEffect transition="in" filter="wipe(down)">
                                      <p:cBhvr>
                                        <p:cTn id="26" dur="500"/>
                                        <p:tgtEl>
                                          <p:spTgt spid="32"/>
                                        </p:tgtEl>
                                      </p:cBhvr>
                                    </p:animEffect>
                                  </p:childTnLst>
                                </p:cTn>
                              </p:par>
                              <p:par>
                                <p:cTn id="27" presetID="22" presetClass="entr" presetSubtype="4" fill="hold" nodeType="withEffect">
                                  <p:stCondLst>
                                    <p:cond delay="0"/>
                                  </p:stCondLst>
                                  <p:childTnLst>
                                    <p:set>
                                      <p:cBhvr>
                                        <p:cTn id="28" dur="1" fill="hold">
                                          <p:stCondLst>
                                            <p:cond delay="0"/>
                                          </p:stCondLst>
                                        </p:cTn>
                                        <p:tgtEl>
                                          <p:spTgt spid="30"/>
                                        </p:tgtEl>
                                        <p:attrNameLst>
                                          <p:attrName>style.visibility</p:attrName>
                                        </p:attrNameLst>
                                      </p:cBhvr>
                                      <p:to>
                                        <p:strVal val="visible"/>
                                      </p:to>
                                    </p:set>
                                    <p:animEffect transition="in" filter="wipe(down)">
                                      <p:cBhvr>
                                        <p:cTn id="29" dur="500"/>
                                        <p:tgtEl>
                                          <p:spTgt spid="30"/>
                                        </p:tgtEl>
                                      </p:cBhvr>
                                    </p:animEffect>
                                  </p:childTnLst>
                                </p:cTn>
                              </p:par>
                              <p:par>
                                <p:cTn id="30" presetID="22" presetClass="entr" presetSubtype="4" fill="hold" grpId="0" nodeType="withEffect">
                                  <p:stCondLst>
                                    <p:cond delay="0"/>
                                  </p:stCondLst>
                                  <p:childTnLst>
                                    <p:set>
                                      <p:cBhvr>
                                        <p:cTn id="31" dur="1" fill="hold">
                                          <p:stCondLst>
                                            <p:cond delay="0"/>
                                          </p:stCondLst>
                                        </p:cTn>
                                        <p:tgtEl>
                                          <p:spTgt spid="31"/>
                                        </p:tgtEl>
                                        <p:attrNameLst>
                                          <p:attrName>style.visibility</p:attrName>
                                        </p:attrNameLst>
                                      </p:cBhvr>
                                      <p:to>
                                        <p:strVal val="visible"/>
                                      </p:to>
                                    </p:set>
                                    <p:animEffect transition="in" filter="wipe(down)">
                                      <p:cBhvr>
                                        <p:cTn id="32"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26" grpId="0"/>
      <p:bldP spid="27" grpId="0"/>
      <p:bldP spid="31" grpId="0"/>
      <p:bldP spid="32" grpId="0"/>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FFD352"/>
        </a:solidFill>
        <a:effectLst/>
      </p:bgPr>
    </p:bg>
    <p:spTree>
      <p:nvGrpSpPr>
        <p:cNvPr id="1" name=""/>
        <p:cNvGrpSpPr/>
        <p:nvPr/>
      </p:nvGrpSpPr>
      <p:grpSpPr>
        <a:xfrm>
          <a:off x="0" y="0"/>
          <a:ext cx="0" cy="0"/>
          <a:chOff x="0" y="0"/>
          <a:chExt cx="0" cy="0"/>
        </a:xfrm>
      </p:grpSpPr>
      <p:pic>
        <p:nvPicPr>
          <p:cNvPr id="23" name="Picture 5"/>
          <p:cNvPicPr>
            <a:picLocks noChangeAspect="1"/>
          </p:cNvPicPr>
          <p:nvPr/>
        </p:nvPicPr>
        <p:blipFill>
          <a:blip/>
          <a:srcRect/>
          <a:stretch>
            <a:fillRect/>
          </a:stretch>
        </p:blipFill>
        <p:spPr>
          <a:xfrm>
            <a:off x="13868400" y="4881571"/>
            <a:ext cx="3936202" cy="4998645"/>
          </a:xfrm>
          <a:prstGeom prst="rect">
            <a:avLst/>
          </a:prstGeom>
        </p:spPr>
      </p:pic>
      <p:pic>
        <p:nvPicPr>
          <p:cNvPr id="24" name="Picture 4"/>
          <p:cNvPicPr>
            <a:picLocks noChangeAspect="1"/>
          </p:cNvPicPr>
          <p:nvPr/>
        </p:nvPicPr>
        <p:blipFill>
          <a:blip/>
          <a:srcRect/>
          <a:stretch>
            <a:fillRect/>
          </a:stretch>
        </p:blipFill>
        <p:spPr>
          <a:xfrm>
            <a:off x="2209800" y="995371"/>
            <a:ext cx="3040380" cy="3886200"/>
          </a:xfrm>
          <a:prstGeom prst="rect">
            <a:avLst/>
          </a:prstGeom>
        </p:spPr>
      </p:pic>
      <p:sp>
        <p:nvSpPr>
          <p:cNvPr id="5" name="Rectangle 4"/>
          <p:cNvSpPr/>
          <p:nvPr/>
        </p:nvSpPr>
        <p:spPr>
          <a:xfrm>
            <a:off x="5715000" y="1198511"/>
            <a:ext cx="11240451" cy="3683060"/>
          </a:xfrm>
          <a:prstGeom prst="rect">
            <a:avLst/>
          </a:prstGeom>
        </p:spPr>
        <p:txBody>
          <a:bodyPr wrap="square">
            <a:spAutoFit/>
          </a:bodyPr>
          <a:lstStyle/>
          <a:p>
            <a:pPr marL="685800" indent="-685800" algn="just">
              <a:lnSpc>
                <a:spcPts val="7000"/>
              </a:lnSpc>
              <a:buFont typeface="Arial" panose="020B0604020202020204" pitchFamily="34" charset="0"/>
              <a:buChar char="•"/>
            </a:pPr>
            <a:r>
              <a:rPr lang="vi-VN" sz="5000" dirty="0"/>
              <a:t>Ca dao: Yêu nhau cau sáu bổ ba/Ghét nhau cau sáu bổ ba thành mười; Miếng trầu là đầu câu chuyện.</a:t>
            </a:r>
            <a:endParaRPr lang="vi-VN" sz="5000" dirty="0"/>
          </a:p>
          <a:p>
            <a:pPr marL="685800" indent="-685800" algn="just">
              <a:lnSpc>
                <a:spcPts val="7000"/>
              </a:lnSpc>
              <a:buFont typeface="Arial" panose="020B0604020202020204" pitchFamily="34" charset="0"/>
              <a:buChar char="•"/>
            </a:pPr>
            <a:r>
              <a:rPr lang="vi-VN" sz="5000" dirty="0" smtClean="0"/>
              <a:t>Truyền </a:t>
            </a:r>
            <a:r>
              <a:rPr lang="vi-VN" sz="5000" dirty="0"/>
              <a:t>thuyết: Sự tích trầu cau.</a:t>
            </a:r>
            <a:endParaRPr lang="vi-VN" sz="5000" dirty="0"/>
          </a:p>
        </p:txBody>
      </p:sp>
      <p:sp>
        <p:nvSpPr>
          <p:cNvPr id="6" name="Rectangle 5"/>
          <p:cNvSpPr/>
          <p:nvPr/>
        </p:nvSpPr>
        <p:spPr>
          <a:xfrm>
            <a:off x="762000" y="5266455"/>
            <a:ext cx="13229488" cy="4580741"/>
          </a:xfrm>
          <a:prstGeom prst="rect">
            <a:avLst/>
          </a:prstGeom>
        </p:spPr>
        <p:txBody>
          <a:bodyPr wrap="square">
            <a:spAutoFit/>
          </a:bodyPr>
          <a:lstStyle/>
          <a:p>
            <a:pPr algn="just">
              <a:lnSpc>
                <a:spcPts val="7000"/>
              </a:lnSpc>
            </a:pPr>
            <a:r>
              <a:rPr lang="vi-VN" sz="5000" dirty="0">
                <a:solidFill>
                  <a:srgbClr val="000000"/>
                </a:solidFill>
                <a:ea typeface="Calibri" panose="020F0502020204030204" charset="0"/>
                <a:cs typeface="Arial" panose="020B0604020202020204" pitchFamily="34" charset="0"/>
              </a:rPr>
              <a:t>Ngày Tết </a:t>
            </a:r>
            <a:r>
              <a:rPr lang="en-US" sz="5000" dirty="0" smtClean="0">
                <a:solidFill>
                  <a:srgbClr val="000000"/>
                </a:solidFill>
                <a:latin typeface="Arial" panose="020B0604020202020204" pitchFamily="34" charset="0"/>
                <a:ea typeface="Calibri" panose="020F0502020204030204" charset="0"/>
                <a:cs typeface="Arial" panose="020B0604020202020204" pitchFamily="34" charset="0"/>
              </a:rPr>
              <a:t>người Việt </a:t>
            </a:r>
            <a:r>
              <a:rPr lang="vi-VN" sz="5000" dirty="0" smtClean="0">
                <a:solidFill>
                  <a:srgbClr val="000000"/>
                </a:solidFill>
                <a:ea typeface="Calibri" panose="020F0502020204030204" charset="0"/>
                <a:cs typeface="Arial" panose="020B0604020202020204" pitchFamily="34" charset="0"/>
              </a:rPr>
              <a:t>thường </a:t>
            </a:r>
            <a:r>
              <a:rPr lang="vi-VN" sz="5000" dirty="0">
                <a:solidFill>
                  <a:srgbClr val="000000"/>
                </a:solidFill>
                <a:ea typeface="Calibri" panose="020F0502020204030204" charset="0"/>
                <a:cs typeface="Arial" panose="020B0604020202020204" pitchFamily="34" charset="0"/>
              </a:rPr>
              <a:t>làm bánh chưng, bánh </a:t>
            </a:r>
            <a:r>
              <a:rPr lang="vi-VN" sz="5000" dirty="0" smtClean="0">
                <a:solidFill>
                  <a:srgbClr val="000000"/>
                </a:solidFill>
                <a:ea typeface="Calibri" panose="020F0502020204030204" charset="0"/>
                <a:cs typeface="Arial" panose="020B0604020202020204" pitchFamily="34" charset="0"/>
              </a:rPr>
              <a:t>giày.</a:t>
            </a:r>
            <a:r>
              <a:rPr lang="en-US" sz="5000" dirty="0" smtClean="0">
                <a:solidFill>
                  <a:srgbClr val="000000"/>
                </a:solidFill>
                <a:ea typeface="Calibri" panose="020F0502020204030204" charset="0"/>
                <a:cs typeface="Arial" panose="020B0604020202020204" pitchFamily="34" charset="0"/>
              </a:rPr>
              <a:t> </a:t>
            </a:r>
            <a:r>
              <a:rPr lang="vi-VN" sz="5000" dirty="0" smtClean="0">
                <a:solidFill>
                  <a:srgbClr val="000000"/>
                </a:solidFill>
                <a:ea typeface="Calibri" panose="020F0502020204030204" charset="0"/>
                <a:cs typeface="Arial" panose="020B0604020202020204" pitchFamily="34" charset="0"/>
              </a:rPr>
              <a:t>Những </a:t>
            </a:r>
            <a:r>
              <a:rPr lang="vi-VN" sz="5000" dirty="0">
                <a:solidFill>
                  <a:srgbClr val="000000"/>
                </a:solidFill>
                <a:ea typeface="Calibri" panose="020F0502020204030204" charset="0"/>
                <a:cs typeface="Arial" panose="020B0604020202020204" pitchFamily="34" charset="0"/>
              </a:rPr>
              <a:t>phong tục </a:t>
            </a:r>
            <a:r>
              <a:rPr lang="en-US" sz="5000" dirty="0" smtClean="0">
                <a:solidFill>
                  <a:srgbClr val="000000"/>
                </a:solidFill>
                <a:latin typeface="Arial" panose="020B0604020202020204" pitchFamily="34" charset="0"/>
                <a:ea typeface="Calibri" panose="020F0502020204030204" charset="0"/>
                <a:cs typeface="Arial" panose="020B0604020202020204" pitchFamily="34" charset="0"/>
              </a:rPr>
              <a:t>này dựa trên</a:t>
            </a:r>
            <a:r>
              <a:rPr lang="vi-VN" sz="5000" dirty="0" smtClean="0">
                <a:solidFill>
                  <a:srgbClr val="000000"/>
                </a:solidFill>
                <a:latin typeface="Arial" panose="020B0604020202020204" pitchFamily="34" charset="0"/>
                <a:ea typeface="Calibri" panose="020F0502020204030204" charset="0"/>
                <a:cs typeface="Arial" panose="020B0604020202020204" pitchFamily="34" charset="0"/>
              </a:rPr>
              <a:t> </a:t>
            </a:r>
            <a:r>
              <a:rPr lang="vi-VN" sz="5000" dirty="0">
                <a:solidFill>
                  <a:srgbClr val="000000"/>
                </a:solidFill>
                <a:ea typeface="Calibri" panose="020F0502020204030204" charset="0"/>
                <a:cs typeface="Arial" panose="020B0604020202020204" pitchFamily="34" charset="0"/>
              </a:rPr>
              <a:t>sự chi phối của </a:t>
            </a:r>
            <a:r>
              <a:rPr lang="vi-VN" sz="5000" dirty="0" smtClean="0">
                <a:solidFill>
                  <a:srgbClr val="000000"/>
                </a:solidFill>
                <a:ea typeface="Calibri" panose="020F0502020204030204" charset="0"/>
                <a:cs typeface="Arial" panose="020B0604020202020204" pitchFamily="34" charset="0"/>
              </a:rPr>
              <a:t>yếu </a:t>
            </a:r>
            <a:r>
              <a:rPr lang="vi-VN" sz="5000" dirty="0">
                <a:solidFill>
                  <a:srgbClr val="000000"/>
                </a:solidFill>
                <a:ea typeface="Calibri" panose="020F0502020204030204" charset="0"/>
                <a:cs typeface="Arial" panose="020B0604020202020204" pitchFamily="34" charset="0"/>
              </a:rPr>
              <a:t>tố: điều kiện tự nhiên </a:t>
            </a:r>
            <a:r>
              <a:rPr lang="en-US" sz="5000" dirty="0" smtClean="0">
                <a:solidFill>
                  <a:srgbClr val="000000"/>
                </a:solidFill>
                <a:ea typeface="Calibri" panose="020F0502020204030204" charset="0"/>
                <a:cs typeface="Arial" panose="020B0604020202020204" pitchFamily="34" charset="0"/>
              </a:rPr>
              <a:t>-</a:t>
            </a:r>
            <a:r>
              <a:rPr lang="vi-VN" sz="5000" dirty="0" smtClean="0">
                <a:solidFill>
                  <a:srgbClr val="000000"/>
                </a:solidFill>
                <a:ea typeface="Calibri" panose="020F0502020204030204" charset="0"/>
                <a:cs typeface="Arial" panose="020B0604020202020204" pitchFamily="34" charset="0"/>
              </a:rPr>
              <a:t> </a:t>
            </a:r>
            <a:r>
              <a:rPr lang="vi-VN" sz="5000" dirty="0">
                <a:solidFill>
                  <a:srgbClr val="000000"/>
                </a:solidFill>
                <a:ea typeface="Calibri" panose="020F0502020204030204" charset="0"/>
                <a:cs typeface="Arial" panose="020B0604020202020204" pitchFamily="34" charset="0"/>
              </a:rPr>
              <a:t>khí hậu, sông nước, kinh tế nông nghiệp trồng lúa nước, tinh thần cố kết cộng </a:t>
            </a:r>
            <a:r>
              <a:rPr lang="vi-VN" sz="5000" dirty="0" smtClean="0">
                <a:solidFill>
                  <a:srgbClr val="000000"/>
                </a:solidFill>
                <a:ea typeface="Calibri" panose="020F0502020204030204" charset="0"/>
                <a:cs typeface="Arial" panose="020B0604020202020204" pitchFamily="34" charset="0"/>
              </a:rPr>
              <a:t>đồng</a:t>
            </a:r>
            <a:r>
              <a:rPr lang="en-US" sz="5000" dirty="0" smtClean="0">
                <a:solidFill>
                  <a:srgbClr val="000000"/>
                </a:solidFill>
                <a:ea typeface="Calibri" panose="020F0502020204030204" charset="0"/>
                <a:cs typeface="Arial" panose="020B0604020202020204" pitchFamily="34" charset="0"/>
              </a:rPr>
              <a:t>.</a:t>
            </a:r>
            <a:endParaRPr lang="vi-VN" sz="5000" dirty="0">
              <a:solidFill>
                <a:srgbClr val="000000"/>
              </a:solidFill>
              <a:ea typeface="Calibri" panose="020F0502020204030204" charset="0"/>
              <a:cs typeface="Arial" panose="020B0604020202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arn(inVertical)">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rotWithShape="1">
          <a:blip r:embed="rId1"/>
          <a:stretch>
            <a:fillRect/>
          </a:stretch>
        </a:blipFill>
        <a:effectLst/>
      </p:bgPr>
    </p:bg>
    <p:spTree>
      <p:nvGrpSpPr>
        <p:cNvPr id="1" name=""/>
        <p:cNvGrpSpPr/>
        <p:nvPr/>
      </p:nvGrpSpPr>
      <p:grpSpPr>
        <a:xfrm>
          <a:off x="0" y="0"/>
          <a:ext cx="0" cy="0"/>
          <a:chOff x="0" y="0"/>
          <a:chExt cx="0" cy="0"/>
        </a:xfrm>
      </p:grpSpPr>
      <p:sp>
        <p:nvSpPr>
          <p:cNvPr id="14" name="Rectangle 13"/>
          <p:cNvSpPr/>
          <p:nvPr/>
        </p:nvSpPr>
        <p:spPr>
          <a:xfrm>
            <a:off x="4375235" y="2249360"/>
            <a:ext cx="10506456" cy="6995160"/>
          </a:xfrm>
          <a:prstGeom prst="rect">
            <a:avLst/>
          </a:prstGeom>
          <a:blipFill>
            <a:blip r:embed="rId2"/>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latin typeface="Times New Roman" panose="02020603050405020304" pitchFamily="18" charset="0"/>
              <a:cs typeface="Times New Roman" panose="02020603050405020304" pitchFamily="18" charset="0"/>
            </a:endParaRPr>
          </a:p>
        </p:txBody>
      </p:sp>
      <p:sp>
        <p:nvSpPr>
          <p:cNvPr id="6" name="Freeform 17"/>
          <p:cNvSpPr/>
          <p:nvPr/>
        </p:nvSpPr>
        <p:spPr>
          <a:xfrm>
            <a:off x="4355510" y="2213916"/>
            <a:ext cx="10545908" cy="7030604"/>
          </a:xfrm>
          <a:custGeom>
            <a:avLst/>
            <a:gdLst>
              <a:gd name="connsiteX0" fmla="*/ 2565627 w 7030605"/>
              <a:gd name="connsiteY0" fmla="*/ 1766182 h 4687069"/>
              <a:gd name="connsiteX1" fmla="*/ 1849773 w 7030605"/>
              <a:gd name="connsiteY1" fmla="*/ 2062699 h 4687069"/>
              <a:gd name="connsiteX2" fmla="*/ 1837664 w 7030605"/>
              <a:gd name="connsiteY2" fmla="*/ 2077374 h 4687069"/>
              <a:gd name="connsiteX3" fmla="*/ 1831215 w 7030605"/>
              <a:gd name="connsiteY3" fmla="*/ 2069557 h 4687069"/>
              <a:gd name="connsiteX4" fmla="*/ 1115360 w 7030605"/>
              <a:gd name="connsiteY4" fmla="*/ 1773040 h 4687069"/>
              <a:gd name="connsiteX5" fmla="*/ 102989 w 7030605"/>
              <a:gd name="connsiteY5" fmla="*/ 2785411 h 4687069"/>
              <a:gd name="connsiteX6" fmla="*/ 1115360 w 7030605"/>
              <a:gd name="connsiteY6" fmla="*/ 3797782 h 4687069"/>
              <a:gd name="connsiteX7" fmla="*/ 1831215 w 7030605"/>
              <a:gd name="connsiteY7" fmla="*/ 3501266 h 4687069"/>
              <a:gd name="connsiteX8" fmla="*/ 1843323 w 7030605"/>
              <a:gd name="connsiteY8" fmla="*/ 3486590 h 4687069"/>
              <a:gd name="connsiteX9" fmla="*/ 1849773 w 7030605"/>
              <a:gd name="connsiteY9" fmla="*/ 3494408 h 4687069"/>
              <a:gd name="connsiteX10" fmla="*/ 2565627 w 7030605"/>
              <a:gd name="connsiteY10" fmla="*/ 3790924 h 4687069"/>
              <a:gd name="connsiteX11" fmla="*/ 3577998 w 7030605"/>
              <a:gd name="connsiteY11" fmla="*/ 2778553 h 4687069"/>
              <a:gd name="connsiteX12" fmla="*/ 2565627 w 7030605"/>
              <a:gd name="connsiteY12" fmla="*/ 1766182 h 4687069"/>
              <a:gd name="connsiteX13" fmla="*/ 0 w 7030605"/>
              <a:gd name="connsiteY13" fmla="*/ 0 h 4687069"/>
              <a:gd name="connsiteX14" fmla="*/ 7030605 w 7030605"/>
              <a:gd name="connsiteY14" fmla="*/ 0 h 4687069"/>
              <a:gd name="connsiteX15" fmla="*/ 7030605 w 7030605"/>
              <a:gd name="connsiteY15" fmla="*/ 4687069 h 4687069"/>
              <a:gd name="connsiteX16" fmla="*/ 0 w 7030605"/>
              <a:gd name="connsiteY16" fmla="*/ 4687069 h 468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030605" h="4687069">
                <a:moveTo>
                  <a:pt x="2565627" y="1766182"/>
                </a:moveTo>
                <a:cubicBezTo>
                  <a:pt x="2286069" y="1766182"/>
                  <a:pt x="2032976" y="1879496"/>
                  <a:pt x="1849773" y="2062699"/>
                </a:cubicBezTo>
                <a:lnTo>
                  <a:pt x="1837664" y="2077374"/>
                </a:lnTo>
                <a:lnTo>
                  <a:pt x="1831215" y="2069557"/>
                </a:lnTo>
                <a:cubicBezTo>
                  <a:pt x="1648011" y="1886354"/>
                  <a:pt x="1394919" y="1773040"/>
                  <a:pt x="1115360" y="1773040"/>
                </a:cubicBezTo>
                <a:cubicBezTo>
                  <a:pt x="556243" y="1773040"/>
                  <a:pt x="102989" y="2226294"/>
                  <a:pt x="102989" y="2785411"/>
                </a:cubicBezTo>
                <a:cubicBezTo>
                  <a:pt x="102989" y="3344528"/>
                  <a:pt x="556243" y="3797782"/>
                  <a:pt x="1115360" y="3797782"/>
                </a:cubicBezTo>
                <a:cubicBezTo>
                  <a:pt x="1394919" y="3797782"/>
                  <a:pt x="1648011" y="3684469"/>
                  <a:pt x="1831215" y="3501266"/>
                </a:cubicBezTo>
                <a:lnTo>
                  <a:pt x="1843323" y="3486590"/>
                </a:lnTo>
                <a:lnTo>
                  <a:pt x="1849773" y="3494408"/>
                </a:lnTo>
                <a:cubicBezTo>
                  <a:pt x="2032976" y="3677611"/>
                  <a:pt x="2286069" y="3790924"/>
                  <a:pt x="2565627" y="3790924"/>
                </a:cubicBezTo>
                <a:cubicBezTo>
                  <a:pt x="3124744" y="3790924"/>
                  <a:pt x="3577998" y="3337670"/>
                  <a:pt x="3577998" y="2778553"/>
                </a:cubicBezTo>
                <a:cubicBezTo>
                  <a:pt x="3577998" y="2219436"/>
                  <a:pt x="3124744" y="1766182"/>
                  <a:pt x="2565627" y="1766182"/>
                </a:cubicBezTo>
                <a:close/>
                <a:moveTo>
                  <a:pt x="0" y="0"/>
                </a:moveTo>
                <a:lnTo>
                  <a:pt x="7030605" y="0"/>
                </a:lnTo>
                <a:lnTo>
                  <a:pt x="7030605" y="4687069"/>
                </a:lnTo>
                <a:lnTo>
                  <a:pt x="0" y="4687069"/>
                </a:lnTo>
                <a:close/>
              </a:path>
            </a:pathLst>
          </a:custGeom>
          <a:solidFill>
            <a:srgbClr val="0F14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solidFill>
                <a:prstClr val="white"/>
              </a:solidFill>
              <a:latin typeface="Times New Roman" panose="02020603050405020304" pitchFamily="18" charset="0"/>
              <a:cs typeface="Times New Roman" panose="02020603050405020304" pitchFamily="18" charset="0"/>
            </a:endParaRPr>
          </a:p>
        </p:txBody>
      </p:sp>
      <p:sp>
        <p:nvSpPr>
          <p:cNvPr id="7" name="Freeform 18"/>
          <p:cNvSpPr/>
          <p:nvPr/>
        </p:nvSpPr>
        <p:spPr>
          <a:xfrm>
            <a:off x="4355510" y="2213916"/>
            <a:ext cx="10545908" cy="7030604"/>
          </a:xfrm>
          <a:custGeom>
            <a:avLst/>
            <a:gdLst>
              <a:gd name="connsiteX0" fmla="*/ 3100105 w 7030605"/>
              <a:gd name="connsiteY0" fmla="*/ 243964 h 4687069"/>
              <a:gd name="connsiteX1" fmla="*/ 2384251 w 7030605"/>
              <a:gd name="connsiteY1" fmla="*/ 540481 h 4687069"/>
              <a:gd name="connsiteX2" fmla="*/ 2372142 w 7030605"/>
              <a:gd name="connsiteY2" fmla="*/ 555156 h 4687069"/>
              <a:gd name="connsiteX3" fmla="*/ 2365693 w 7030605"/>
              <a:gd name="connsiteY3" fmla="*/ 547339 h 4687069"/>
              <a:gd name="connsiteX4" fmla="*/ 1649838 w 7030605"/>
              <a:gd name="connsiteY4" fmla="*/ 250822 h 4687069"/>
              <a:gd name="connsiteX5" fmla="*/ 637467 w 7030605"/>
              <a:gd name="connsiteY5" fmla="*/ 1263193 h 4687069"/>
              <a:gd name="connsiteX6" fmla="*/ 1649838 w 7030605"/>
              <a:gd name="connsiteY6" fmla="*/ 2275564 h 4687069"/>
              <a:gd name="connsiteX7" fmla="*/ 2365693 w 7030605"/>
              <a:gd name="connsiteY7" fmla="*/ 1979048 h 4687069"/>
              <a:gd name="connsiteX8" fmla="*/ 2377801 w 7030605"/>
              <a:gd name="connsiteY8" fmla="*/ 1964372 h 4687069"/>
              <a:gd name="connsiteX9" fmla="*/ 2384251 w 7030605"/>
              <a:gd name="connsiteY9" fmla="*/ 1972190 h 4687069"/>
              <a:gd name="connsiteX10" fmla="*/ 3100105 w 7030605"/>
              <a:gd name="connsiteY10" fmla="*/ 2268706 h 4687069"/>
              <a:gd name="connsiteX11" fmla="*/ 4112476 w 7030605"/>
              <a:gd name="connsiteY11" fmla="*/ 1256335 h 4687069"/>
              <a:gd name="connsiteX12" fmla="*/ 3100105 w 7030605"/>
              <a:gd name="connsiteY12" fmla="*/ 243964 h 4687069"/>
              <a:gd name="connsiteX13" fmla="*/ 0 w 7030605"/>
              <a:gd name="connsiteY13" fmla="*/ 0 h 4687069"/>
              <a:gd name="connsiteX14" fmla="*/ 7030605 w 7030605"/>
              <a:gd name="connsiteY14" fmla="*/ 0 h 4687069"/>
              <a:gd name="connsiteX15" fmla="*/ 7030605 w 7030605"/>
              <a:gd name="connsiteY15" fmla="*/ 4687069 h 4687069"/>
              <a:gd name="connsiteX16" fmla="*/ 0 w 7030605"/>
              <a:gd name="connsiteY16" fmla="*/ 4687069 h 468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030605" h="4687069">
                <a:moveTo>
                  <a:pt x="3100105" y="243964"/>
                </a:moveTo>
                <a:cubicBezTo>
                  <a:pt x="2820547" y="243964"/>
                  <a:pt x="2567454" y="357278"/>
                  <a:pt x="2384251" y="540481"/>
                </a:cubicBezTo>
                <a:lnTo>
                  <a:pt x="2372142" y="555156"/>
                </a:lnTo>
                <a:lnTo>
                  <a:pt x="2365693" y="547339"/>
                </a:lnTo>
                <a:cubicBezTo>
                  <a:pt x="2182489" y="364136"/>
                  <a:pt x="1929397" y="250822"/>
                  <a:pt x="1649838" y="250822"/>
                </a:cubicBezTo>
                <a:cubicBezTo>
                  <a:pt x="1090721" y="250822"/>
                  <a:pt x="637467" y="704076"/>
                  <a:pt x="637467" y="1263193"/>
                </a:cubicBezTo>
                <a:cubicBezTo>
                  <a:pt x="637467" y="1822310"/>
                  <a:pt x="1090721" y="2275564"/>
                  <a:pt x="1649838" y="2275564"/>
                </a:cubicBezTo>
                <a:cubicBezTo>
                  <a:pt x="1929397" y="2275564"/>
                  <a:pt x="2182489" y="2162251"/>
                  <a:pt x="2365693" y="1979048"/>
                </a:cubicBezTo>
                <a:lnTo>
                  <a:pt x="2377801" y="1964372"/>
                </a:lnTo>
                <a:lnTo>
                  <a:pt x="2384251" y="1972190"/>
                </a:lnTo>
                <a:cubicBezTo>
                  <a:pt x="2567454" y="2155393"/>
                  <a:pt x="2820547" y="2268706"/>
                  <a:pt x="3100105" y="2268706"/>
                </a:cubicBezTo>
                <a:cubicBezTo>
                  <a:pt x="3659222" y="2268706"/>
                  <a:pt x="4112476" y="1815452"/>
                  <a:pt x="4112476" y="1256335"/>
                </a:cubicBezTo>
                <a:cubicBezTo>
                  <a:pt x="4112476" y="697218"/>
                  <a:pt x="3659222" y="243964"/>
                  <a:pt x="3100105" y="243964"/>
                </a:cubicBezTo>
                <a:close/>
                <a:moveTo>
                  <a:pt x="0" y="0"/>
                </a:moveTo>
                <a:lnTo>
                  <a:pt x="7030605" y="0"/>
                </a:lnTo>
                <a:lnTo>
                  <a:pt x="7030605" y="4687069"/>
                </a:lnTo>
                <a:lnTo>
                  <a:pt x="0" y="4687069"/>
                </a:lnTo>
                <a:close/>
              </a:path>
            </a:pathLst>
          </a:custGeom>
          <a:solidFill>
            <a:srgbClr val="0F14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solidFill>
                <a:prstClr val="white"/>
              </a:solidFill>
              <a:latin typeface="Times New Roman" panose="02020603050405020304" pitchFamily="18" charset="0"/>
              <a:cs typeface="Times New Roman" panose="02020603050405020304" pitchFamily="18" charset="0"/>
            </a:endParaRPr>
          </a:p>
        </p:txBody>
      </p:sp>
      <p:sp>
        <p:nvSpPr>
          <p:cNvPr id="8" name="Freeform 19"/>
          <p:cNvSpPr/>
          <p:nvPr/>
        </p:nvSpPr>
        <p:spPr>
          <a:xfrm>
            <a:off x="4355510" y="2213916"/>
            <a:ext cx="10545908" cy="7030604"/>
          </a:xfrm>
          <a:custGeom>
            <a:avLst/>
            <a:gdLst>
              <a:gd name="connsiteX0" fmla="*/ 5977940 w 7030605"/>
              <a:gd name="connsiteY0" fmla="*/ 2461641 h 4687069"/>
              <a:gd name="connsiteX1" fmla="*/ 5262086 w 7030605"/>
              <a:gd name="connsiteY1" fmla="*/ 2758158 h 4687069"/>
              <a:gd name="connsiteX2" fmla="*/ 5249977 w 7030605"/>
              <a:gd name="connsiteY2" fmla="*/ 2772833 h 4687069"/>
              <a:gd name="connsiteX3" fmla="*/ 5243528 w 7030605"/>
              <a:gd name="connsiteY3" fmla="*/ 2765016 h 4687069"/>
              <a:gd name="connsiteX4" fmla="*/ 4527673 w 7030605"/>
              <a:gd name="connsiteY4" fmla="*/ 2468499 h 4687069"/>
              <a:gd name="connsiteX5" fmla="*/ 3515302 w 7030605"/>
              <a:gd name="connsiteY5" fmla="*/ 3480870 h 4687069"/>
              <a:gd name="connsiteX6" fmla="*/ 4527673 w 7030605"/>
              <a:gd name="connsiteY6" fmla="*/ 4493241 h 4687069"/>
              <a:gd name="connsiteX7" fmla="*/ 5243528 w 7030605"/>
              <a:gd name="connsiteY7" fmla="*/ 4196725 h 4687069"/>
              <a:gd name="connsiteX8" fmla="*/ 5255636 w 7030605"/>
              <a:gd name="connsiteY8" fmla="*/ 4182049 h 4687069"/>
              <a:gd name="connsiteX9" fmla="*/ 5262086 w 7030605"/>
              <a:gd name="connsiteY9" fmla="*/ 4189867 h 4687069"/>
              <a:gd name="connsiteX10" fmla="*/ 5977940 w 7030605"/>
              <a:gd name="connsiteY10" fmla="*/ 4486383 h 4687069"/>
              <a:gd name="connsiteX11" fmla="*/ 6990311 w 7030605"/>
              <a:gd name="connsiteY11" fmla="*/ 3474012 h 4687069"/>
              <a:gd name="connsiteX12" fmla="*/ 5977940 w 7030605"/>
              <a:gd name="connsiteY12" fmla="*/ 2461641 h 4687069"/>
              <a:gd name="connsiteX13" fmla="*/ 0 w 7030605"/>
              <a:gd name="connsiteY13" fmla="*/ 0 h 4687069"/>
              <a:gd name="connsiteX14" fmla="*/ 7030605 w 7030605"/>
              <a:gd name="connsiteY14" fmla="*/ 0 h 4687069"/>
              <a:gd name="connsiteX15" fmla="*/ 7030605 w 7030605"/>
              <a:gd name="connsiteY15" fmla="*/ 4687069 h 4687069"/>
              <a:gd name="connsiteX16" fmla="*/ 0 w 7030605"/>
              <a:gd name="connsiteY16" fmla="*/ 4687069 h 468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030605" h="4687069">
                <a:moveTo>
                  <a:pt x="5977940" y="2461641"/>
                </a:moveTo>
                <a:cubicBezTo>
                  <a:pt x="5698382" y="2461641"/>
                  <a:pt x="5445289" y="2574955"/>
                  <a:pt x="5262086" y="2758158"/>
                </a:cubicBezTo>
                <a:lnTo>
                  <a:pt x="5249977" y="2772833"/>
                </a:lnTo>
                <a:lnTo>
                  <a:pt x="5243528" y="2765016"/>
                </a:lnTo>
                <a:cubicBezTo>
                  <a:pt x="5060324" y="2581813"/>
                  <a:pt x="4807232" y="2468499"/>
                  <a:pt x="4527673" y="2468499"/>
                </a:cubicBezTo>
                <a:cubicBezTo>
                  <a:pt x="3968556" y="2468499"/>
                  <a:pt x="3515302" y="2921753"/>
                  <a:pt x="3515302" y="3480870"/>
                </a:cubicBezTo>
                <a:cubicBezTo>
                  <a:pt x="3515302" y="4039987"/>
                  <a:pt x="3968556" y="4493241"/>
                  <a:pt x="4527673" y="4493241"/>
                </a:cubicBezTo>
                <a:cubicBezTo>
                  <a:pt x="4807232" y="4493241"/>
                  <a:pt x="5060324" y="4379928"/>
                  <a:pt x="5243528" y="4196725"/>
                </a:cubicBezTo>
                <a:lnTo>
                  <a:pt x="5255636" y="4182049"/>
                </a:lnTo>
                <a:lnTo>
                  <a:pt x="5262086" y="4189867"/>
                </a:lnTo>
                <a:cubicBezTo>
                  <a:pt x="5445289" y="4373070"/>
                  <a:pt x="5698382" y="4486383"/>
                  <a:pt x="5977940" y="4486383"/>
                </a:cubicBezTo>
                <a:cubicBezTo>
                  <a:pt x="6537057" y="4486383"/>
                  <a:pt x="6990311" y="4033129"/>
                  <a:pt x="6990311" y="3474012"/>
                </a:cubicBezTo>
                <a:cubicBezTo>
                  <a:pt x="6990311" y="2914895"/>
                  <a:pt x="6537057" y="2461641"/>
                  <a:pt x="5977940" y="2461641"/>
                </a:cubicBezTo>
                <a:close/>
                <a:moveTo>
                  <a:pt x="0" y="0"/>
                </a:moveTo>
                <a:lnTo>
                  <a:pt x="7030605" y="0"/>
                </a:lnTo>
                <a:lnTo>
                  <a:pt x="7030605" y="4687069"/>
                </a:lnTo>
                <a:lnTo>
                  <a:pt x="0" y="4687069"/>
                </a:lnTo>
                <a:close/>
              </a:path>
            </a:pathLst>
          </a:custGeom>
          <a:solidFill>
            <a:srgbClr val="0F14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solidFill>
                <a:prstClr val="white"/>
              </a:solidFill>
              <a:latin typeface="Times New Roman" panose="02020603050405020304" pitchFamily="18" charset="0"/>
              <a:cs typeface="Times New Roman" panose="02020603050405020304" pitchFamily="18" charset="0"/>
            </a:endParaRPr>
          </a:p>
        </p:txBody>
      </p:sp>
      <p:sp>
        <p:nvSpPr>
          <p:cNvPr id="9" name="Rectangle 8"/>
          <p:cNvSpPr/>
          <p:nvPr/>
        </p:nvSpPr>
        <p:spPr>
          <a:xfrm>
            <a:off x="2791460" y="2210435"/>
            <a:ext cx="12860655" cy="7468870"/>
          </a:xfrm>
          <a:prstGeom prst="rect">
            <a:avLst/>
          </a:prstGeom>
          <a:solidFill>
            <a:srgbClr val="0F14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solidFill>
                <a:prstClr val="white"/>
              </a:solidFill>
              <a:latin typeface="Times New Roman" panose="02020603050405020304" pitchFamily="18" charset="0"/>
              <a:cs typeface="Times New Roman" panose="02020603050405020304" pitchFamily="18" charset="0"/>
            </a:endParaRPr>
          </a:p>
        </p:txBody>
      </p:sp>
      <p:sp>
        <p:nvSpPr>
          <p:cNvPr id="10" name="Title 20"/>
          <p:cNvSpPr>
            <a:spLocks noGrp="1"/>
          </p:cNvSpPr>
          <p:nvPr>
            <p:ph type="title"/>
          </p:nvPr>
        </p:nvSpPr>
        <p:spPr>
          <a:xfrm>
            <a:off x="914397" y="718343"/>
            <a:ext cx="16440150" cy="1491459"/>
          </a:xfrm>
        </p:spPr>
        <p:txBody>
          <a:bodyPr/>
          <a:lstStyle/>
          <a:p>
            <a:r>
              <a:rPr lang="en-GB" sz="5400" dirty="0" err="1">
                <a:latin typeface="Times New Roman" panose="02020603050405020304" pitchFamily="18" charset="0"/>
                <a:cs typeface="Times New Roman" panose="02020603050405020304" pitchFamily="18" charset="0"/>
              </a:rPr>
              <a:t>Em</a:t>
            </a:r>
            <a:r>
              <a:rPr lang="en-GB" sz="5400" dirty="0">
                <a:latin typeface="Times New Roman" panose="02020603050405020304" pitchFamily="18" charset="0"/>
                <a:cs typeface="Times New Roman" panose="02020603050405020304" pitchFamily="18" charset="0"/>
              </a:rPr>
              <a:t> </a:t>
            </a:r>
            <a:r>
              <a:rPr lang="en-GB" sz="5400" dirty="0" err="1">
                <a:latin typeface="Times New Roman" panose="02020603050405020304" pitchFamily="18" charset="0"/>
                <a:cs typeface="Times New Roman" panose="02020603050405020304" pitchFamily="18" charset="0"/>
              </a:rPr>
              <a:t>đang</a:t>
            </a:r>
            <a:r>
              <a:rPr lang="en-GB" sz="5400" dirty="0">
                <a:latin typeface="Times New Roman" panose="02020603050405020304" pitchFamily="18" charset="0"/>
                <a:cs typeface="Times New Roman" panose="02020603050405020304" pitchFamily="18" charset="0"/>
              </a:rPr>
              <a:t> </a:t>
            </a:r>
            <a:r>
              <a:rPr lang="en-GB" sz="5400" dirty="0" err="1">
                <a:latin typeface="Times New Roman" panose="02020603050405020304" pitchFamily="18" charset="0"/>
                <a:cs typeface="Times New Roman" panose="02020603050405020304" pitchFamily="18" charset="0"/>
              </a:rPr>
              <a:t>thấy</a:t>
            </a:r>
            <a:r>
              <a:rPr lang="en-GB" sz="5400" dirty="0">
                <a:latin typeface="Times New Roman" panose="02020603050405020304" pitchFamily="18" charset="0"/>
                <a:cs typeface="Times New Roman" panose="02020603050405020304" pitchFamily="18" charset="0"/>
              </a:rPr>
              <a:t> </a:t>
            </a:r>
            <a:r>
              <a:rPr lang="en-GB" sz="5400" dirty="0" err="1">
                <a:latin typeface="Times New Roman" panose="02020603050405020304" pitchFamily="18" charset="0"/>
                <a:cs typeface="Times New Roman" panose="02020603050405020304" pitchFamily="18" charset="0"/>
              </a:rPr>
              <a:t>truyền</a:t>
            </a:r>
            <a:r>
              <a:rPr lang="en-GB" sz="5400" dirty="0">
                <a:latin typeface="Times New Roman" panose="02020603050405020304" pitchFamily="18" charset="0"/>
                <a:cs typeface="Times New Roman" panose="02020603050405020304" pitchFamily="18" charset="0"/>
              </a:rPr>
              <a:t> </a:t>
            </a:r>
            <a:r>
              <a:rPr lang="en-GB" sz="5400" dirty="0" err="1">
                <a:latin typeface="Times New Roman" panose="02020603050405020304" pitchFamily="18" charset="0"/>
                <a:cs typeface="Times New Roman" panose="02020603050405020304" pitchFamily="18" charset="0"/>
              </a:rPr>
              <a:t>thuyết</a:t>
            </a:r>
            <a:r>
              <a:rPr lang="en-GB" sz="5400" dirty="0">
                <a:latin typeface="Times New Roman" panose="02020603050405020304" pitchFamily="18" charset="0"/>
                <a:cs typeface="Times New Roman" panose="02020603050405020304" pitchFamily="18" charset="0"/>
              </a:rPr>
              <a:t> </a:t>
            </a:r>
            <a:r>
              <a:rPr lang="en-GB" sz="5400" dirty="0" err="1">
                <a:latin typeface="Times New Roman" panose="02020603050405020304" pitchFamily="18" charset="0"/>
                <a:cs typeface="Times New Roman" panose="02020603050405020304" pitchFamily="18" charset="0"/>
              </a:rPr>
              <a:t>nào</a:t>
            </a:r>
            <a:r>
              <a:rPr lang="en-GB" sz="5400" dirty="0">
                <a:latin typeface="Times New Roman" panose="02020603050405020304" pitchFamily="18" charset="0"/>
                <a:cs typeface="Times New Roman" panose="02020603050405020304" pitchFamily="18" charset="0"/>
              </a:rPr>
              <a:t>?</a:t>
            </a:r>
            <a:endParaRPr lang="en-GB" sz="5400" dirty="0">
              <a:latin typeface="Times New Roman" panose="02020603050405020304" pitchFamily="18" charset="0"/>
              <a:cs typeface="Times New Roman" panose="02020603050405020304" pitchFamily="18" charset="0"/>
            </a:endParaRPr>
          </a:p>
        </p:txBody>
      </p:sp>
      <p:sp>
        <p:nvSpPr>
          <p:cNvPr id="11" name="Rounded Rectangle 9"/>
          <p:cNvSpPr/>
          <p:nvPr/>
        </p:nvSpPr>
        <p:spPr>
          <a:xfrm>
            <a:off x="7348641" y="8303741"/>
            <a:ext cx="4559643" cy="835497"/>
          </a:xfrm>
          <a:prstGeom prst="roundRect">
            <a:avLst/>
          </a:prstGeom>
          <a:solidFill>
            <a:srgbClr val="0098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00" b="1" dirty="0" err="1">
                <a:solidFill>
                  <a:prstClr val="white"/>
                </a:solidFill>
                <a:latin typeface="Times New Roman" panose="02020603050405020304" pitchFamily="18" charset="0"/>
                <a:cs typeface="Times New Roman" panose="02020603050405020304" pitchFamily="18" charset="0"/>
              </a:rPr>
              <a:t>Đáp</a:t>
            </a:r>
            <a:r>
              <a:rPr lang="en-GB" sz="3600" b="1" dirty="0">
                <a:solidFill>
                  <a:prstClr val="white"/>
                </a:solidFill>
                <a:latin typeface="Times New Roman" panose="02020603050405020304" pitchFamily="18" charset="0"/>
                <a:cs typeface="Times New Roman" panose="02020603050405020304" pitchFamily="18" charset="0"/>
              </a:rPr>
              <a:t> </a:t>
            </a:r>
            <a:r>
              <a:rPr lang="en-GB" sz="3600" b="1" dirty="0" err="1">
                <a:solidFill>
                  <a:prstClr val="white"/>
                </a:solidFill>
                <a:latin typeface="Times New Roman" panose="02020603050405020304" pitchFamily="18" charset="0"/>
                <a:cs typeface="Times New Roman" panose="02020603050405020304" pitchFamily="18" charset="0"/>
              </a:rPr>
              <a:t>án</a:t>
            </a:r>
            <a:endParaRPr lang="en-GB" sz="3600" b="1" dirty="0">
              <a:solidFill>
                <a:prstClr val="white"/>
              </a:solidFill>
              <a:latin typeface="Times New Roman" panose="02020603050405020304" pitchFamily="18" charset="0"/>
              <a:cs typeface="Times New Roman" panose="02020603050405020304" pitchFamily="18" charset="0"/>
            </a:endParaRPr>
          </a:p>
        </p:txBody>
      </p:sp>
      <p:sp>
        <p:nvSpPr>
          <p:cNvPr id="12" name="Rounded Rectangle 23"/>
          <p:cNvSpPr/>
          <p:nvPr/>
        </p:nvSpPr>
        <p:spPr>
          <a:xfrm>
            <a:off x="6809004" y="8072006"/>
            <a:ext cx="5638919" cy="1372032"/>
          </a:xfrm>
          <a:prstGeom prst="roundRect">
            <a:avLst/>
          </a:prstGeom>
          <a:solidFill>
            <a:srgbClr val="18A0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00" b="1" dirty="0" err="1">
                <a:solidFill>
                  <a:prstClr val="white"/>
                </a:solidFill>
                <a:latin typeface="Times New Roman" panose="02020603050405020304" pitchFamily="18" charset="0"/>
                <a:cs typeface="Times New Roman" panose="02020603050405020304" pitchFamily="18" charset="0"/>
              </a:rPr>
              <a:t>Thánh</a:t>
            </a:r>
            <a:r>
              <a:rPr lang="en-GB" sz="3600" b="1" dirty="0">
                <a:solidFill>
                  <a:prstClr val="white"/>
                </a:solidFill>
                <a:latin typeface="Times New Roman" panose="02020603050405020304" pitchFamily="18" charset="0"/>
                <a:cs typeface="Times New Roman" panose="02020603050405020304" pitchFamily="18" charset="0"/>
              </a:rPr>
              <a:t> </a:t>
            </a:r>
            <a:r>
              <a:rPr lang="en-GB" sz="3600" b="1" dirty="0" err="1">
                <a:solidFill>
                  <a:prstClr val="white"/>
                </a:solidFill>
                <a:latin typeface="Times New Roman" panose="02020603050405020304" pitchFamily="18" charset="0"/>
                <a:cs typeface="Times New Roman" panose="02020603050405020304" pitchFamily="18" charset="0"/>
              </a:rPr>
              <a:t>Gióng</a:t>
            </a:r>
            <a:r>
              <a:rPr lang="en-GB" sz="3600" b="1" dirty="0">
                <a:solidFill>
                  <a:prstClr val="white"/>
                </a:solidFill>
                <a:latin typeface="Times New Roman" panose="02020603050405020304" pitchFamily="18" charset="0"/>
                <a:cs typeface="Times New Roman" panose="02020603050405020304" pitchFamily="18" charset="0"/>
              </a:rPr>
              <a:t> (</a:t>
            </a:r>
            <a:r>
              <a:rPr lang="en-GB" sz="3600" b="1" dirty="0" err="1">
                <a:solidFill>
                  <a:prstClr val="white"/>
                </a:solidFill>
                <a:latin typeface="Times New Roman" panose="02020603050405020304" pitchFamily="18" charset="0"/>
                <a:cs typeface="Times New Roman" panose="02020603050405020304" pitchFamily="18" charset="0"/>
              </a:rPr>
              <a:t>Phù</a:t>
            </a:r>
            <a:r>
              <a:rPr lang="en-GB" sz="3600" b="1" dirty="0">
                <a:solidFill>
                  <a:prstClr val="white"/>
                </a:solidFill>
                <a:latin typeface="Times New Roman" panose="02020603050405020304" pitchFamily="18" charset="0"/>
                <a:cs typeface="Times New Roman" panose="02020603050405020304" pitchFamily="18" charset="0"/>
              </a:rPr>
              <a:t> </a:t>
            </a:r>
            <a:r>
              <a:rPr lang="en-GB" sz="3600" b="1" dirty="0" err="1">
                <a:solidFill>
                  <a:prstClr val="white"/>
                </a:solidFill>
                <a:latin typeface="Times New Roman" panose="02020603050405020304" pitchFamily="18" charset="0"/>
                <a:cs typeface="Times New Roman" panose="02020603050405020304" pitchFamily="18" charset="0"/>
              </a:rPr>
              <a:t>Đổng</a:t>
            </a:r>
            <a:r>
              <a:rPr lang="en-GB" sz="3600" b="1" dirty="0">
                <a:solidFill>
                  <a:prstClr val="white"/>
                </a:solidFill>
                <a:latin typeface="Times New Roman" panose="02020603050405020304" pitchFamily="18" charset="0"/>
                <a:cs typeface="Times New Roman" panose="02020603050405020304" pitchFamily="18" charset="0"/>
              </a:rPr>
              <a:t> </a:t>
            </a:r>
            <a:r>
              <a:rPr lang="en-GB" sz="3600" b="1" dirty="0" err="1">
                <a:solidFill>
                  <a:prstClr val="white"/>
                </a:solidFill>
                <a:latin typeface="Times New Roman" panose="02020603050405020304" pitchFamily="18" charset="0"/>
                <a:cs typeface="Times New Roman" panose="02020603050405020304" pitchFamily="18" charset="0"/>
              </a:rPr>
              <a:t>Thiên</a:t>
            </a:r>
            <a:r>
              <a:rPr lang="en-GB" sz="3600" b="1" dirty="0">
                <a:solidFill>
                  <a:prstClr val="white"/>
                </a:solidFill>
                <a:latin typeface="Times New Roman" panose="02020603050405020304" pitchFamily="18" charset="0"/>
                <a:cs typeface="Times New Roman" panose="02020603050405020304" pitchFamily="18" charset="0"/>
              </a:rPr>
              <a:t> </a:t>
            </a:r>
            <a:r>
              <a:rPr lang="en-GB" sz="3600" b="1" dirty="0" err="1">
                <a:solidFill>
                  <a:prstClr val="white"/>
                </a:solidFill>
                <a:latin typeface="Times New Roman" panose="02020603050405020304" pitchFamily="18" charset="0"/>
                <a:cs typeface="Times New Roman" panose="02020603050405020304" pitchFamily="18" charset="0"/>
              </a:rPr>
              <a:t>Vương</a:t>
            </a:r>
            <a:r>
              <a:rPr lang="en-GB" sz="3600" b="1" dirty="0">
                <a:solidFill>
                  <a:prstClr val="white"/>
                </a:solidFill>
                <a:latin typeface="Times New Roman" panose="02020603050405020304" pitchFamily="18" charset="0"/>
                <a:cs typeface="Times New Roman" panose="02020603050405020304" pitchFamily="18" charset="0"/>
              </a:rPr>
              <a:t>)</a:t>
            </a:r>
            <a:endParaRPr lang="en-GB" sz="3600" b="1" dirty="0">
              <a:solidFill>
                <a:prstClr val="white"/>
              </a:solidFill>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9"/>
                                        </p:tgtEl>
                                      </p:cBhvr>
                                    </p:animEffect>
                                    <p:set>
                                      <p:cBhvr>
                                        <p:cTn id="7" dur="1" fill="hold">
                                          <p:stCondLst>
                                            <p:cond delay="499"/>
                                          </p:stCondLst>
                                        </p:cTn>
                                        <p:tgtEl>
                                          <p:spTgt spid="9"/>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par>
                          <p:cTn id="13" fill="hold">
                            <p:stCondLst>
                              <p:cond delay="500"/>
                            </p:stCondLst>
                            <p:childTnLst>
                              <p:par>
                                <p:cTn id="14" presetID="10" presetClass="exit" presetSubtype="0" fill="hold" grpId="0" nodeType="afterEffect">
                                  <p:stCondLst>
                                    <p:cond delay="0"/>
                                  </p:stCondLst>
                                  <p:childTnLst>
                                    <p:animEffect transition="out" filter="fade">
                                      <p:cBhvr>
                                        <p:cTn id="15" dur="500"/>
                                        <p:tgtEl>
                                          <p:spTgt spid="8"/>
                                        </p:tgtEl>
                                      </p:cBhvr>
                                    </p:animEffect>
                                    <p:set>
                                      <p:cBhvr>
                                        <p:cTn id="16" dur="1" fill="hold">
                                          <p:stCondLst>
                                            <p:cond delay="499"/>
                                          </p:stCondLst>
                                        </p:cTn>
                                        <p:tgtEl>
                                          <p:spTgt spid="8"/>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childTnLst>
                          </p:cTn>
                        </p:par>
                        <p:par>
                          <p:cTn id="22" fill="hold">
                            <p:stCondLst>
                              <p:cond delay="500"/>
                            </p:stCondLst>
                            <p:childTnLst>
                              <p:par>
                                <p:cTn id="23" presetID="10" presetClass="exit" presetSubtype="0" fill="hold" grpId="1" nodeType="afterEffect">
                                  <p:stCondLst>
                                    <p:cond delay="0"/>
                                  </p:stCondLst>
                                  <p:childTnLst>
                                    <p:animEffect transition="out" filter="fade">
                                      <p:cBhvr>
                                        <p:cTn id="24" dur="500"/>
                                        <p:tgtEl>
                                          <p:spTgt spid="7"/>
                                        </p:tgtEl>
                                      </p:cBhvr>
                                    </p:animEffect>
                                    <p:set>
                                      <p:cBhvr>
                                        <p:cTn id="25" dur="1" fill="hold">
                                          <p:stCondLst>
                                            <p:cond delay="499"/>
                                          </p:stCondLst>
                                        </p:cTn>
                                        <p:tgtEl>
                                          <p:spTgt spid="7"/>
                                        </p:tgtEl>
                                        <p:attrNameLst>
                                          <p:attrName>style.visibility</p:attrName>
                                        </p:attrNameLst>
                                      </p:cBhvr>
                                      <p:to>
                                        <p:strVal val="hidden"/>
                                      </p:to>
                                    </p:set>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30" restart="whenNotActive" fill="hold" evtFilter="cancelBubble" nodeType="interactiveSeq">
                <p:stCondLst>
                  <p:cond evt="onClick" delay="0">
                    <p:tgtEl>
                      <p:spTgt spid="11"/>
                    </p:tgtEl>
                  </p:cond>
                </p:stCondLst>
                <p:endSync evt="end" delay="0">
                  <p:rtn val="all"/>
                </p:endSync>
                <p:childTnLst>
                  <p:par>
                    <p:cTn id="31" fill="hold">
                      <p:stCondLst>
                        <p:cond delay="0"/>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10" presetClass="exit" presetSubtype="0" fill="hold" grpId="1" nodeType="withEffect">
                                  <p:stCondLst>
                                    <p:cond delay="0"/>
                                  </p:stCondLst>
                                  <p:childTnLst>
                                    <p:animEffect transition="out" filter="fade">
                                      <p:cBhvr>
                                        <p:cTn id="37" dur="500"/>
                                        <p:tgtEl>
                                          <p:spTgt spid="6"/>
                                        </p:tgtEl>
                                      </p:cBhvr>
                                    </p:animEffect>
                                    <p:set>
                                      <p:cBhvr>
                                        <p:cTn id="38" dur="1" fill="hold">
                                          <p:stCondLst>
                                            <p:cond delay="499"/>
                                          </p:stCondLst>
                                        </p:cTn>
                                        <p:tgtEl>
                                          <p:spTgt spid="6"/>
                                        </p:tgtEl>
                                        <p:attrNameLst>
                                          <p:attrName>style.visibility</p:attrName>
                                        </p:attrNameLst>
                                      </p:cBhvr>
                                      <p:to>
                                        <p:strVal val="hidden"/>
                                      </p:to>
                                    </p:set>
                                  </p:childTnLst>
                                </p:cTn>
                              </p:par>
                            </p:childTnLst>
                          </p:cTn>
                        </p:par>
                      </p:childTnLst>
                    </p:cTn>
                  </p:par>
                </p:childTnLst>
              </p:cTn>
              <p:nextCondLst>
                <p:cond evt="onClick" delay="0">
                  <p:tgtEl>
                    <p:spTgt spid="11"/>
                  </p:tgtEl>
                </p:cond>
              </p:nextCondLst>
            </p:seq>
          </p:childTnLst>
        </p:cTn>
      </p:par>
    </p:tnLst>
    <p:bldLst>
      <p:bldP spid="6" grpId="0" bldLvl="0" animBg="1"/>
      <p:bldP spid="6" grpId="1" bldLvl="0" animBg="1"/>
      <p:bldP spid="7" grpId="0" bldLvl="0" animBg="1"/>
      <p:bldP spid="7" grpId="1" bldLvl="0" animBg="1"/>
      <p:bldP spid="8" grpId="0" bldLvl="0" animBg="1"/>
      <p:bldP spid="9" grpId="0" bldLvl="0" animBg="1"/>
      <p:bldP spid="11" grpId="0" bldLvl="0" animBg="1"/>
      <p:bldP spid="12" grpId="0" bldLvl="0"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F8F7F0"/>
        </a:solidFill>
        <a:effectLst/>
      </p:bgPr>
    </p:bg>
    <p:spTree>
      <p:nvGrpSpPr>
        <p:cNvPr id="1" name=""/>
        <p:cNvGrpSpPr/>
        <p:nvPr/>
      </p:nvGrpSpPr>
      <p:grpSpPr>
        <a:xfrm>
          <a:off x="0" y="0"/>
          <a:ext cx="0" cy="0"/>
          <a:chOff x="0" y="0"/>
          <a:chExt cx="0" cy="0"/>
        </a:xfrm>
      </p:grpSpPr>
      <p:sp>
        <p:nvSpPr>
          <p:cNvPr id="2" name="AutoShape 2"/>
          <p:cNvSpPr/>
          <p:nvPr/>
        </p:nvSpPr>
        <p:spPr>
          <a:xfrm>
            <a:off x="0" y="9563100"/>
            <a:ext cx="18288000" cy="1245438"/>
          </a:xfrm>
          <a:prstGeom prst="rect">
            <a:avLst/>
          </a:prstGeom>
          <a:solidFill>
            <a:srgbClr val="F8AC39"/>
          </a:solidFill>
        </p:spPr>
      </p:sp>
      <p:sp>
        <p:nvSpPr>
          <p:cNvPr id="3" name="AutoShape 3"/>
          <p:cNvSpPr/>
          <p:nvPr/>
        </p:nvSpPr>
        <p:spPr>
          <a:xfrm>
            <a:off x="0" y="-477936"/>
            <a:ext cx="18288000" cy="1552154"/>
          </a:xfrm>
          <a:prstGeom prst="rect">
            <a:avLst/>
          </a:prstGeom>
          <a:solidFill>
            <a:srgbClr val="F8AC39"/>
          </a:solidFill>
        </p:spPr>
      </p:sp>
      <p:pic>
        <p:nvPicPr>
          <p:cNvPr id="4" name="Picture 4"/>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a:off x="14514" y="190500"/>
            <a:ext cx="786515" cy="542695"/>
          </a:xfrm>
          <a:prstGeom prst="rect">
            <a:avLst/>
          </a:prstGeom>
        </p:spPr>
      </p:pic>
      <p:pic>
        <p:nvPicPr>
          <p:cNvPr id="5" name="Picture 5"/>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rot="-10800000">
            <a:off x="17221200" y="9817484"/>
            <a:ext cx="786515" cy="542695"/>
          </a:xfrm>
          <a:prstGeom prst="rect">
            <a:avLst/>
          </a:prstGeom>
        </p:spPr>
      </p:pic>
      <p:sp>
        <p:nvSpPr>
          <p:cNvPr id="6" name="Rectangle 5"/>
          <p:cNvSpPr/>
          <p:nvPr/>
        </p:nvSpPr>
        <p:spPr>
          <a:xfrm>
            <a:off x="1295400" y="1472542"/>
            <a:ext cx="15697200" cy="7786747"/>
          </a:xfrm>
          <a:prstGeom prst="rect">
            <a:avLst/>
          </a:prstGeom>
        </p:spPr>
        <p:txBody>
          <a:bodyPr wrap="square">
            <a:spAutoFit/>
          </a:bodyPr>
          <a:lstStyle/>
          <a:p>
            <a:pPr marL="685800" indent="-685800" algn="just">
              <a:lnSpc>
                <a:spcPts val="7500"/>
              </a:lnSpc>
              <a:buFont typeface="Arial" panose="020B0604020202020204" pitchFamily="34" charset="0"/>
              <a:buChar char="•"/>
            </a:pPr>
            <a:r>
              <a:rPr lang="en-US" sz="5000" dirty="0" smtClean="0">
                <a:latin typeface="Arial" panose="020B0604020202020204" pitchFamily="34" charset="0"/>
                <a:ea typeface="Times New Roman" panose="02020603050405020304" pitchFamily="18" charset="0"/>
                <a:cs typeface="Arial" panose="020B0604020202020204" pitchFamily="34" charset="0"/>
              </a:rPr>
              <a:t>N</a:t>
            </a:r>
            <a:r>
              <a:rPr lang="vi-VN" sz="5000" dirty="0" smtClean="0">
                <a:latin typeface="Arial" panose="020B0604020202020204" pitchFamily="34" charset="0"/>
                <a:ea typeface="Times New Roman" panose="02020603050405020304" pitchFamily="18" charset="0"/>
                <a:cs typeface="Arial" panose="020B0604020202020204" pitchFamily="34" charset="0"/>
              </a:rPr>
              <a:t>hững </a:t>
            </a:r>
            <a:r>
              <a:rPr lang="vi-VN" sz="5000" dirty="0">
                <a:latin typeface="Arial" panose="020B0604020202020204" pitchFamily="34" charset="0"/>
                <a:ea typeface="Times New Roman" panose="02020603050405020304" pitchFamily="18" charset="0"/>
                <a:cs typeface="Arial" panose="020B0604020202020204" pitchFamily="34" charset="0"/>
              </a:rPr>
              <a:t>giá trị cốt lõi mà thời Văn Lang - Âu Lạc để </a:t>
            </a:r>
            <a:r>
              <a:rPr lang="vi-VN" sz="5000" dirty="0" smtClean="0">
                <a:latin typeface="Arial" panose="020B0604020202020204" pitchFamily="34" charset="0"/>
                <a:ea typeface="Times New Roman" panose="02020603050405020304" pitchFamily="18" charset="0"/>
                <a:cs typeface="Arial" panose="020B0604020202020204" pitchFamily="34" charset="0"/>
              </a:rPr>
              <a:t>lại: </a:t>
            </a:r>
            <a:r>
              <a:rPr lang="vi-VN" sz="5000" dirty="0">
                <a:latin typeface="Arial" panose="020B0604020202020204" pitchFamily="34" charset="0"/>
                <a:ea typeface="Times New Roman" panose="02020603050405020304" pitchFamily="18" charset="0"/>
                <a:cs typeface="Arial" panose="020B0604020202020204" pitchFamily="34" charset="0"/>
              </a:rPr>
              <a:t>Tổ quốc, thuật luyện kim, nông nghiệp trồng lúa nước, phong tục tập quán riêng, bài học đầu tiên về công cuộc dựng nước. </a:t>
            </a:r>
            <a:endParaRPr lang="en-US" sz="5000" dirty="0" smtClean="0">
              <a:latin typeface="Arial" panose="020B0604020202020204" pitchFamily="34" charset="0"/>
              <a:ea typeface="Times New Roman" panose="02020603050405020304" pitchFamily="18" charset="0"/>
              <a:cs typeface="Arial" panose="020B0604020202020204" pitchFamily="34" charset="0"/>
            </a:endParaRPr>
          </a:p>
          <a:p>
            <a:pPr marL="685800" indent="-685800" algn="just">
              <a:lnSpc>
                <a:spcPts val="7500"/>
              </a:lnSpc>
              <a:buFont typeface="Arial" panose="020B0604020202020204" pitchFamily="34" charset="0"/>
              <a:buChar char="•"/>
            </a:pPr>
            <a:r>
              <a:rPr lang="en-US" sz="5000" dirty="0" smtClean="0">
                <a:latin typeface="Arial" panose="020B0604020202020204" pitchFamily="34" charset="0"/>
                <a:ea typeface="Times New Roman" panose="02020603050405020304" pitchFamily="18" charset="0"/>
                <a:cs typeface="Arial" panose="020B0604020202020204" pitchFamily="34" charset="0"/>
              </a:rPr>
              <a:t>N</a:t>
            </a:r>
            <a:r>
              <a:rPr lang="vi-VN" sz="5000" dirty="0" smtClean="0">
                <a:latin typeface="Arial" panose="020B0604020202020204" pitchFamily="34" charset="0"/>
                <a:ea typeface="Times New Roman" panose="02020603050405020304" pitchFamily="18" charset="0"/>
                <a:cs typeface="Arial" panose="020B0604020202020204" pitchFamily="34" charset="0"/>
              </a:rPr>
              <a:t>hững </a:t>
            </a:r>
            <a:r>
              <a:rPr lang="en-US" sz="5000" dirty="0" smtClean="0">
                <a:latin typeface="Arial" panose="020B0604020202020204" pitchFamily="34" charset="0"/>
                <a:ea typeface="Times New Roman" panose="02020603050405020304" pitchFamily="18" charset="0"/>
                <a:cs typeface="Arial" panose="020B0604020202020204" pitchFamily="34" charset="0"/>
              </a:rPr>
              <a:t>điều này </a:t>
            </a:r>
            <a:r>
              <a:rPr lang="vi-VN" sz="5000" dirty="0" smtClean="0">
                <a:latin typeface="Arial" panose="020B0604020202020204" pitchFamily="34" charset="0"/>
                <a:ea typeface="Times New Roman" panose="02020603050405020304" pitchFamily="18" charset="0"/>
                <a:cs typeface="Arial" panose="020B0604020202020204" pitchFamily="34" charset="0"/>
              </a:rPr>
              <a:t>đã </a:t>
            </a:r>
            <a:r>
              <a:rPr lang="vi-VN" sz="5000" dirty="0">
                <a:latin typeface="Arial" panose="020B0604020202020204" pitchFamily="34" charset="0"/>
                <a:ea typeface="Times New Roman" panose="02020603050405020304" pitchFamily="18" charset="0"/>
                <a:cs typeface="Arial" panose="020B0604020202020204" pitchFamily="34" charset="0"/>
              </a:rPr>
              <a:t>tạo dựng, hun đúc nên bản sắc, truyền thống, sức mạnh dân tộc, giúp dân tộc ta vượt qua được thử thách khắc nghiệt hơn </a:t>
            </a:r>
            <a:r>
              <a:rPr lang="vi-VN" sz="5000" dirty="0" smtClean="0">
                <a:latin typeface="Arial" panose="020B0604020202020204" pitchFamily="34" charset="0"/>
                <a:ea typeface="Times New Roman" panose="02020603050405020304" pitchFamily="18" charset="0"/>
                <a:cs typeface="Arial" panose="020B0604020202020204" pitchFamily="34" charset="0"/>
              </a:rPr>
              <a:t>1</a:t>
            </a:r>
            <a:r>
              <a:rPr lang="en-US" sz="5000" dirty="0" smtClean="0">
                <a:latin typeface="Arial" panose="020B0604020202020204" pitchFamily="34" charset="0"/>
                <a:ea typeface="Times New Roman" panose="02020603050405020304" pitchFamily="18" charset="0"/>
                <a:cs typeface="Arial" panose="020B0604020202020204" pitchFamily="34" charset="0"/>
              </a:rPr>
              <a:t>.</a:t>
            </a:r>
            <a:r>
              <a:rPr lang="vi-VN" sz="5000" dirty="0" smtClean="0">
                <a:latin typeface="Arial" panose="020B0604020202020204" pitchFamily="34" charset="0"/>
                <a:ea typeface="Times New Roman" panose="02020603050405020304" pitchFamily="18" charset="0"/>
                <a:cs typeface="Arial" panose="020B0604020202020204" pitchFamily="34" charset="0"/>
              </a:rPr>
              <a:t>000 </a:t>
            </a:r>
            <a:r>
              <a:rPr lang="vi-VN" sz="5000" dirty="0">
                <a:latin typeface="Arial" panose="020B0604020202020204" pitchFamily="34" charset="0"/>
                <a:ea typeface="Times New Roman" panose="02020603050405020304" pitchFamily="18" charset="0"/>
                <a:cs typeface="Arial" panose="020B0604020202020204" pitchFamily="34" charset="0"/>
              </a:rPr>
              <a:t>năm bị Bắc thuộc ở thời kì sau.</a:t>
            </a:r>
            <a:endParaRPr lang="en-US" sz="5000" dirty="0">
              <a:effectLst/>
              <a:latin typeface="Arial" panose="020B0604020202020204" pitchFamily="34" charset="0"/>
              <a:ea typeface="Times New Roman" panose="02020603050405020304" pitchFamily="18" charset="0"/>
              <a:cs typeface="Arial" panose="020B0604020202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barn(inVertical)">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barn(inVertical)">
                                      <p:cBhvr>
                                        <p:cTn id="12"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a:off x="-1207460" y="7741862"/>
            <a:ext cx="6235304" cy="5090276"/>
          </a:xfrm>
          <a:prstGeom prst="rect">
            <a:avLst/>
          </a:prstGeom>
        </p:spPr>
      </p:pic>
      <p:sp>
        <p:nvSpPr>
          <p:cNvPr id="4" name="TextBox 4"/>
          <p:cNvSpPr txBox="1"/>
          <p:nvPr/>
        </p:nvSpPr>
        <p:spPr>
          <a:xfrm>
            <a:off x="-76200" y="2032177"/>
            <a:ext cx="18364200" cy="1025922"/>
          </a:xfrm>
          <a:prstGeom prst="rect">
            <a:avLst/>
          </a:prstGeom>
        </p:spPr>
        <p:txBody>
          <a:bodyPr wrap="square" lIns="0" tIns="0" rIns="0" bIns="0" rtlCol="0" anchor="t">
            <a:spAutoFit/>
          </a:bodyPr>
          <a:lstStyle/>
          <a:p>
            <a:pPr algn="ctr">
              <a:lnSpc>
                <a:spcPts val="8000"/>
              </a:lnSpc>
            </a:pPr>
            <a:r>
              <a:rPr lang="en-US" sz="7500" b="1" dirty="0" smtClean="0">
                <a:solidFill>
                  <a:srgbClr val="D49E26"/>
                </a:solidFill>
                <a:latin typeface="Arial" panose="020B0604020202020204" pitchFamily="34" charset="0"/>
                <a:cs typeface="Arial" panose="020B0604020202020204" pitchFamily="34" charset="0"/>
              </a:rPr>
              <a:t>LUYỆN TẬP</a:t>
            </a:r>
            <a:endParaRPr lang="en-US" sz="7500" b="1" dirty="0">
              <a:solidFill>
                <a:srgbClr val="D49E26"/>
              </a:solidFill>
              <a:latin typeface="Arial" panose="020B0604020202020204" pitchFamily="34" charset="0"/>
              <a:cs typeface="Arial" panose="020B0604020202020204" pitchFamily="34" charset="0"/>
            </a:endParaRPr>
          </a:p>
        </p:txBody>
      </p:sp>
      <p:pic>
        <p:nvPicPr>
          <p:cNvPr id="7" name="Picture 7"/>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rot="-10800000">
            <a:off x="13518549" y="-2545138"/>
            <a:ext cx="6235304" cy="5090276"/>
          </a:xfrm>
          <a:prstGeom prst="rect">
            <a:avLst/>
          </a:prstGeom>
        </p:spPr>
      </p:pic>
      <p:pic>
        <p:nvPicPr>
          <p:cNvPr id="8" name="Picture 8"/>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4700908">
            <a:off x="13422610" y="-494605"/>
            <a:ext cx="7358179" cy="1913126"/>
          </a:xfrm>
          <a:prstGeom prst="rect">
            <a:avLst/>
          </a:prstGeom>
        </p:spPr>
      </p:pic>
      <p:pic>
        <p:nvPicPr>
          <p:cNvPr id="9" name="Picture 9"/>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p:blipFill>
        <p:spPr>
          <a:xfrm rot="-6495484">
            <a:off x="-2082073" y="8643738"/>
            <a:ext cx="7358179" cy="1913126"/>
          </a:xfrm>
          <a:prstGeom prst="rect">
            <a:avLst/>
          </a:prstGeom>
        </p:spPr>
      </p:pic>
      <p:pic>
        <p:nvPicPr>
          <p:cNvPr id="10" name="Picture 3"/>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p:blipFill>
        <p:spPr>
          <a:xfrm>
            <a:off x="6172200" y="3543300"/>
            <a:ext cx="5857978" cy="61722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barn(inVertical)">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FFD352"/>
        </a:solidFill>
        <a:effectLst/>
      </p:bgPr>
    </p:bg>
    <p:spTree>
      <p:nvGrpSpPr>
        <p:cNvPr id="1" name=""/>
        <p:cNvGrpSpPr/>
        <p:nvPr/>
      </p:nvGrpSpPr>
      <p:grpSpPr>
        <a:xfrm>
          <a:off x="0" y="0"/>
          <a:ext cx="0" cy="0"/>
          <a:chOff x="0" y="0"/>
          <a:chExt cx="0" cy="0"/>
        </a:xfrm>
      </p:grpSpPr>
      <p:grpSp>
        <p:nvGrpSpPr>
          <p:cNvPr id="2" name="Group 2"/>
          <p:cNvGrpSpPr/>
          <p:nvPr/>
        </p:nvGrpSpPr>
        <p:grpSpPr>
          <a:xfrm>
            <a:off x="5105400" y="2705100"/>
            <a:ext cx="11028831" cy="1464140"/>
            <a:chOff x="0" y="0"/>
            <a:chExt cx="7660157" cy="1060682"/>
          </a:xfrm>
        </p:grpSpPr>
        <p:sp>
          <p:nvSpPr>
            <p:cNvPr id="3" name="Freeform 3"/>
            <p:cNvSpPr/>
            <p:nvPr/>
          </p:nvSpPr>
          <p:spPr>
            <a:xfrm>
              <a:off x="0" y="-4262"/>
              <a:ext cx="7667903" cy="1067168"/>
            </a:xfrm>
            <a:custGeom>
              <a:avLst/>
              <a:gdLst/>
              <a:ahLst/>
              <a:cxnLst/>
              <a:rect l="l" t="t" r="r" b="b"/>
              <a:pathLst>
                <a:path w="7667903" h="1067168">
                  <a:moveTo>
                    <a:pt x="6729003" y="1055981"/>
                  </a:moveTo>
                  <a:cubicBezTo>
                    <a:pt x="6729003" y="1055981"/>
                    <a:pt x="6309251" y="1067168"/>
                    <a:pt x="5846666" y="1064547"/>
                  </a:cubicBezTo>
                  <a:cubicBezTo>
                    <a:pt x="2722712" y="1062384"/>
                    <a:pt x="1057073" y="1054560"/>
                    <a:pt x="1057073" y="1054560"/>
                  </a:cubicBezTo>
                  <a:cubicBezTo>
                    <a:pt x="812931" y="1045725"/>
                    <a:pt x="565145" y="1028744"/>
                    <a:pt x="398404" y="970567"/>
                  </a:cubicBezTo>
                  <a:cubicBezTo>
                    <a:pt x="120505" y="873605"/>
                    <a:pt x="0" y="696077"/>
                    <a:pt x="0" y="555062"/>
                  </a:cubicBezTo>
                  <a:lnTo>
                    <a:pt x="0" y="555061"/>
                  </a:lnTo>
                  <a:cubicBezTo>
                    <a:pt x="8536" y="440430"/>
                    <a:pt x="34263" y="311302"/>
                    <a:pt x="140291" y="225758"/>
                  </a:cubicBezTo>
                  <a:cubicBezTo>
                    <a:pt x="342602" y="62530"/>
                    <a:pt x="736658" y="7673"/>
                    <a:pt x="1155311" y="7673"/>
                  </a:cubicBezTo>
                  <a:cubicBezTo>
                    <a:pt x="1155311" y="7673"/>
                    <a:pt x="1551711" y="15681"/>
                    <a:pt x="4880807" y="7673"/>
                  </a:cubicBezTo>
                  <a:cubicBezTo>
                    <a:pt x="6090324" y="0"/>
                    <a:pt x="6554251" y="7673"/>
                    <a:pt x="6554251" y="7673"/>
                  </a:cubicBezTo>
                  <a:cubicBezTo>
                    <a:pt x="6922559" y="15152"/>
                    <a:pt x="7285872" y="84484"/>
                    <a:pt x="7483612" y="207066"/>
                  </a:cubicBezTo>
                  <a:cubicBezTo>
                    <a:pt x="7634629" y="300683"/>
                    <a:pt x="7667903" y="425358"/>
                    <a:pt x="7658763" y="555062"/>
                  </a:cubicBezTo>
                  <a:lnTo>
                    <a:pt x="7658763" y="555062"/>
                  </a:lnTo>
                  <a:cubicBezTo>
                    <a:pt x="7658763" y="814042"/>
                    <a:pt x="7375766" y="1028140"/>
                    <a:pt x="6729003" y="1055981"/>
                  </a:cubicBezTo>
                  <a:close/>
                </a:path>
              </a:pathLst>
            </a:custGeom>
            <a:solidFill>
              <a:srgbClr val="F8F8F8"/>
            </a:solidFill>
          </p:spPr>
        </p:sp>
      </p:grpSp>
      <p:pic>
        <p:nvPicPr>
          <p:cNvPr id="14" name="Picture 14"/>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rot="-935153" flipV="1">
            <a:off x="3337143" y="3224609"/>
            <a:ext cx="1908601" cy="579521"/>
          </a:xfrm>
          <a:prstGeom prst="rect">
            <a:avLst/>
          </a:prstGeom>
        </p:spPr>
      </p:pic>
      <p:sp>
        <p:nvSpPr>
          <p:cNvPr id="18" name="Rectangle 17"/>
          <p:cNvSpPr/>
          <p:nvPr/>
        </p:nvSpPr>
        <p:spPr>
          <a:xfrm>
            <a:off x="5209941" y="2938642"/>
            <a:ext cx="10635191" cy="925894"/>
          </a:xfrm>
          <a:prstGeom prst="rect">
            <a:avLst/>
          </a:prstGeom>
        </p:spPr>
        <p:txBody>
          <a:bodyPr wrap="square">
            <a:spAutoFit/>
          </a:bodyPr>
          <a:lstStyle/>
          <a:p>
            <a:pPr algn="ctr">
              <a:lnSpc>
                <a:spcPts val="6500"/>
              </a:lnSpc>
            </a:pPr>
            <a:r>
              <a:rPr lang="fr-FR" sz="5000" dirty="0" smtClean="0">
                <a:solidFill>
                  <a:srgbClr val="000000"/>
                </a:solidFill>
                <a:latin typeface="Arial" panose="020B0604020202020204" pitchFamily="34" charset="0"/>
                <a:ea typeface="Calibri" panose="020F0502020204030204" charset="0"/>
                <a:cs typeface="Arial" panose="020B0604020202020204" pitchFamily="34" charset="0"/>
              </a:rPr>
              <a:t>A. Phong Châu (Phú Thọ ngày nay)</a:t>
            </a:r>
            <a:endParaRPr lang="en-US" sz="5000" dirty="0">
              <a:latin typeface="Arial" panose="020B0604020202020204" pitchFamily="34" charset="0"/>
              <a:cs typeface="Arial" panose="020B0604020202020204" pitchFamily="34" charset="0"/>
            </a:endParaRPr>
          </a:p>
        </p:txBody>
      </p:sp>
      <p:grpSp>
        <p:nvGrpSpPr>
          <p:cNvPr id="19" name="Group 2"/>
          <p:cNvGrpSpPr/>
          <p:nvPr/>
        </p:nvGrpSpPr>
        <p:grpSpPr>
          <a:xfrm>
            <a:off x="5288507" y="4488557"/>
            <a:ext cx="10856876" cy="1468891"/>
            <a:chOff x="0" y="0"/>
            <a:chExt cx="7660157" cy="1060682"/>
          </a:xfrm>
        </p:grpSpPr>
        <p:sp>
          <p:nvSpPr>
            <p:cNvPr id="20" name="Freeform 3"/>
            <p:cNvSpPr/>
            <p:nvPr/>
          </p:nvSpPr>
          <p:spPr>
            <a:xfrm>
              <a:off x="0" y="-4262"/>
              <a:ext cx="7667903" cy="1067168"/>
            </a:xfrm>
            <a:custGeom>
              <a:avLst/>
              <a:gdLst/>
              <a:ahLst/>
              <a:cxnLst/>
              <a:rect l="l" t="t" r="r" b="b"/>
              <a:pathLst>
                <a:path w="7667903" h="1067168">
                  <a:moveTo>
                    <a:pt x="6729003" y="1055981"/>
                  </a:moveTo>
                  <a:cubicBezTo>
                    <a:pt x="6729003" y="1055981"/>
                    <a:pt x="6309251" y="1067168"/>
                    <a:pt x="5846666" y="1064547"/>
                  </a:cubicBezTo>
                  <a:cubicBezTo>
                    <a:pt x="2722712" y="1062384"/>
                    <a:pt x="1057073" y="1054560"/>
                    <a:pt x="1057073" y="1054560"/>
                  </a:cubicBezTo>
                  <a:cubicBezTo>
                    <a:pt x="812931" y="1045725"/>
                    <a:pt x="565145" y="1028744"/>
                    <a:pt x="398404" y="970567"/>
                  </a:cubicBezTo>
                  <a:cubicBezTo>
                    <a:pt x="120505" y="873605"/>
                    <a:pt x="0" y="696077"/>
                    <a:pt x="0" y="555062"/>
                  </a:cubicBezTo>
                  <a:lnTo>
                    <a:pt x="0" y="555061"/>
                  </a:lnTo>
                  <a:cubicBezTo>
                    <a:pt x="8536" y="440430"/>
                    <a:pt x="34263" y="311302"/>
                    <a:pt x="140291" y="225758"/>
                  </a:cubicBezTo>
                  <a:cubicBezTo>
                    <a:pt x="342602" y="62530"/>
                    <a:pt x="736658" y="7673"/>
                    <a:pt x="1155311" y="7673"/>
                  </a:cubicBezTo>
                  <a:cubicBezTo>
                    <a:pt x="1155311" y="7673"/>
                    <a:pt x="1551711" y="15681"/>
                    <a:pt x="4880807" y="7673"/>
                  </a:cubicBezTo>
                  <a:cubicBezTo>
                    <a:pt x="6090324" y="0"/>
                    <a:pt x="6554251" y="7673"/>
                    <a:pt x="6554251" y="7673"/>
                  </a:cubicBezTo>
                  <a:cubicBezTo>
                    <a:pt x="6922559" y="15152"/>
                    <a:pt x="7285872" y="84484"/>
                    <a:pt x="7483612" y="207066"/>
                  </a:cubicBezTo>
                  <a:cubicBezTo>
                    <a:pt x="7634629" y="300683"/>
                    <a:pt x="7667903" y="425358"/>
                    <a:pt x="7658763" y="555062"/>
                  </a:cubicBezTo>
                  <a:lnTo>
                    <a:pt x="7658763" y="555062"/>
                  </a:lnTo>
                  <a:cubicBezTo>
                    <a:pt x="7658763" y="814042"/>
                    <a:pt x="7375766" y="1028140"/>
                    <a:pt x="6729003" y="1055981"/>
                  </a:cubicBezTo>
                  <a:close/>
                </a:path>
              </a:pathLst>
            </a:custGeom>
            <a:solidFill>
              <a:srgbClr val="F8F8F8"/>
            </a:solidFill>
          </p:spPr>
        </p:sp>
      </p:grpSp>
      <p:pic>
        <p:nvPicPr>
          <p:cNvPr id="22" name="Picture 13"/>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rot="-8388669" flipH="1">
            <a:off x="3839596" y="4508038"/>
            <a:ext cx="2032578" cy="1086505"/>
          </a:xfrm>
          <a:prstGeom prst="rect">
            <a:avLst/>
          </a:prstGeom>
        </p:spPr>
      </p:pic>
      <p:pic>
        <p:nvPicPr>
          <p:cNvPr id="24" name="Picture 4"/>
          <p:cNvPicPr>
            <a:picLocks noChangeAspect="1"/>
          </p:cNvPicPr>
          <p:nvPr/>
        </p:nvPicPr>
        <p:blipFill>
          <a:blip/>
          <a:srcRect/>
          <a:stretch>
            <a:fillRect/>
          </a:stretch>
        </p:blipFill>
        <p:spPr>
          <a:xfrm>
            <a:off x="304800" y="4828944"/>
            <a:ext cx="3512746" cy="5481642"/>
          </a:xfrm>
          <a:prstGeom prst="rect">
            <a:avLst/>
          </a:prstGeom>
        </p:spPr>
      </p:pic>
      <p:sp>
        <p:nvSpPr>
          <p:cNvPr id="13" name="Rectangle 12"/>
          <p:cNvSpPr/>
          <p:nvPr/>
        </p:nvSpPr>
        <p:spPr>
          <a:xfrm>
            <a:off x="30093" y="1428648"/>
            <a:ext cx="18288000" cy="892296"/>
          </a:xfrm>
          <a:prstGeom prst="rect">
            <a:avLst/>
          </a:prstGeom>
        </p:spPr>
        <p:txBody>
          <a:bodyPr wrap="square">
            <a:spAutoFit/>
          </a:bodyPr>
          <a:lstStyle/>
          <a:p>
            <a:pPr algn="ctr">
              <a:lnSpc>
                <a:spcPts val="6800"/>
              </a:lnSpc>
            </a:pPr>
            <a:r>
              <a:rPr lang="nl-NL" sz="5000" dirty="0" smtClean="0">
                <a:solidFill>
                  <a:srgbClr val="000000"/>
                </a:solidFill>
                <a:latin typeface="Arial" panose="020B0604020202020204" pitchFamily="34" charset="0"/>
                <a:ea typeface="Calibri" panose="020F0502020204030204" charset="0"/>
                <a:cs typeface="Arial" panose="020B0604020202020204" pitchFamily="34" charset="0"/>
              </a:rPr>
              <a:t>Kinh đô của nước Văn Lang đóng ở: </a:t>
            </a:r>
            <a:endParaRPr lang="en-US" sz="5000" dirty="0">
              <a:latin typeface="Arial" panose="020B0604020202020204" pitchFamily="34" charset="0"/>
              <a:cs typeface="Arial" panose="020B0604020202020204" pitchFamily="34" charset="0"/>
            </a:endParaRPr>
          </a:p>
        </p:txBody>
      </p:sp>
      <p:sp>
        <p:nvSpPr>
          <p:cNvPr id="15" name="TextBox 9"/>
          <p:cNvSpPr txBox="1"/>
          <p:nvPr/>
        </p:nvSpPr>
        <p:spPr>
          <a:xfrm>
            <a:off x="5979538" y="4828944"/>
            <a:ext cx="9333107" cy="872034"/>
          </a:xfrm>
          <a:prstGeom prst="rect">
            <a:avLst/>
          </a:prstGeom>
        </p:spPr>
        <p:txBody>
          <a:bodyPr wrap="square" lIns="0" tIns="0" rIns="0" bIns="0" rtlCol="0" anchor="t">
            <a:spAutoFit/>
          </a:bodyPr>
          <a:lstStyle/>
          <a:p>
            <a:pPr algn="ctr">
              <a:lnSpc>
                <a:spcPts val="6800"/>
              </a:lnSpc>
            </a:pPr>
            <a:r>
              <a:rPr lang="en-US" sz="5000" dirty="0" smtClean="0">
                <a:solidFill>
                  <a:srgbClr val="000000"/>
                </a:solidFill>
                <a:latin typeface="Arial" panose="020B0604020202020204" pitchFamily="34" charset="0"/>
                <a:cs typeface="Arial" panose="020B0604020202020204" pitchFamily="34" charset="0"/>
              </a:rPr>
              <a:t>B. Mê Linh (Hà Nội ngày nay)</a:t>
            </a:r>
            <a:endParaRPr lang="en-US" sz="5000" dirty="0">
              <a:solidFill>
                <a:srgbClr val="000000"/>
              </a:solidFill>
              <a:latin typeface="Arial" panose="020B0604020202020204" pitchFamily="34" charset="0"/>
              <a:cs typeface="Arial" panose="020B0604020202020204" pitchFamily="34" charset="0"/>
            </a:endParaRPr>
          </a:p>
        </p:txBody>
      </p:sp>
      <p:grpSp>
        <p:nvGrpSpPr>
          <p:cNvPr id="17" name="Group 2"/>
          <p:cNvGrpSpPr/>
          <p:nvPr/>
        </p:nvGrpSpPr>
        <p:grpSpPr>
          <a:xfrm>
            <a:off x="5299486" y="6306817"/>
            <a:ext cx="10856876" cy="1468891"/>
            <a:chOff x="0" y="0"/>
            <a:chExt cx="7660157" cy="1060682"/>
          </a:xfrm>
        </p:grpSpPr>
        <p:sp>
          <p:nvSpPr>
            <p:cNvPr id="25" name="Freeform 3"/>
            <p:cNvSpPr/>
            <p:nvPr/>
          </p:nvSpPr>
          <p:spPr>
            <a:xfrm>
              <a:off x="0" y="-4262"/>
              <a:ext cx="7667903" cy="1067168"/>
            </a:xfrm>
            <a:custGeom>
              <a:avLst/>
              <a:gdLst/>
              <a:ahLst/>
              <a:cxnLst/>
              <a:rect l="l" t="t" r="r" b="b"/>
              <a:pathLst>
                <a:path w="7667903" h="1067168">
                  <a:moveTo>
                    <a:pt x="6729003" y="1055981"/>
                  </a:moveTo>
                  <a:cubicBezTo>
                    <a:pt x="6729003" y="1055981"/>
                    <a:pt x="6309251" y="1067168"/>
                    <a:pt x="5846666" y="1064547"/>
                  </a:cubicBezTo>
                  <a:cubicBezTo>
                    <a:pt x="2722712" y="1062384"/>
                    <a:pt x="1057073" y="1054560"/>
                    <a:pt x="1057073" y="1054560"/>
                  </a:cubicBezTo>
                  <a:cubicBezTo>
                    <a:pt x="812931" y="1045725"/>
                    <a:pt x="565145" y="1028744"/>
                    <a:pt x="398404" y="970567"/>
                  </a:cubicBezTo>
                  <a:cubicBezTo>
                    <a:pt x="120505" y="873605"/>
                    <a:pt x="0" y="696077"/>
                    <a:pt x="0" y="555062"/>
                  </a:cubicBezTo>
                  <a:lnTo>
                    <a:pt x="0" y="555061"/>
                  </a:lnTo>
                  <a:cubicBezTo>
                    <a:pt x="8536" y="440430"/>
                    <a:pt x="34263" y="311302"/>
                    <a:pt x="140291" y="225758"/>
                  </a:cubicBezTo>
                  <a:cubicBezTo>
                    <a:pt x="342602" y="62530"/>
                    <a:pt x="736658" y="7673"/>
                    <a:pt x="1155311" y="7673"/>
                  </a:cubicBezTo>
                  <a:cubicBezTo>
                    <a:pt x="1155311" y="7673"/>
                    <a:pt x="1551711" y="15681"/>
                    <a:pt x="4880807" y="7673"/>
                  </a:cubicBezTo>
                  <a:cubicBezTo>
                    <a:pt x="6090324" y="0"/>
                    <a:pt x="6554251" y="7673"/>
                    <a:pt x="6554251" y="7673"/>
                  </a:cubicBezTo>
                  <a:cubicBezTo>
                    <a:pt x="6922559" y="15152"/>
                    <a:pt x="7285872" y="84484"/>
                    <a:pt x="7483612" y="207066"/>
                  </a:cubicBezTo>
                  <a:cubicBezTo>
                    <a:pt x="7634629" y="300683"/>
                    <a:pt x="7667903" y="425358"/>
                    <a:pt x="7658763" y="555062"/>
                  </a:cubicBezTo>
                  <a:lnTo>
                    <a:pt x="7658763" y="555062"/>
                  </a:lnTo>
                  <a:cubicBezTo>
                    <a:pt x="7658763" y="814042"/>
                    <a:pt x="7375766" y="1028140"/>
                    <a:pt x="6729003" y="1055981"/>
                  </a:cubicBezTo>
                  <a:close/>
                </a:path>
              </a:pathLst>
            </a:custGeom>
            <a:solidFill>
              <a:srgbClr val="F8F8F8"/>
            </a:solidFill>
          </p:spPr>
        </p:sp>
      </p:grpSp>
      <p:sp>
        <p:nvSpPr>
          <p:cNvPr id="27" name="TextBox 9"/>
          <p:cNvSpPr txBox="1"/>
          <p:nvPr/>
        </p:nvSpPr>
        <p:spPr>
          <a:xfrm>
            <a:off x="5466232" y="6597614"/>
            <a:ext cx="10515600" cy="872034"/>
          </a:xfrm>
          <a:prstGeom prst="rect">
            <a:avLst/>
          </a:prstGeom>
        </p:spPr>
        <p:txBody>
          <a:bodyPr wrap="square" lIns="0" tIns="0" rIns="0" bIns="0" rtlCol="0" anchor="t">
            <a:spAutoFit/>
          </a:bodyPr>
          <a:lstStyle/>
          <a:p>
            <a:pPr algn="ctr">
              <a:lnSpc>
                <a:spcPts val="6800"/>
              </a:lnSpc>
            </a:pPr>
            <a:r>
              <a:rPr lang="en-US" sz="5000" dirty="0" smtClean="0">
                <a:solidFill>
                  <a:srgbClr val="000000"/>
                </a:solidFill>
                <a:latin typeface="Arial" panose="020B0604020202020204" pitchFamily="34" charset="0"/>
                <a:cs typeface="Arial" panose="020B0604020202020204" pitchFamily="34" charset="0"/>
              </a:rPr>
              <a:t>C. Đông Anh (Hà Nội ngày nay)</a:t>
            </a:r>
            <a:endParaRPr lang="en-US" sz="5000" dirty="0">
              <a:solidFill>
                <a:srgbClr val="000000"/>
              </a:solidFill>
              <a:latin typeface="Arial" panose="020B0604020202020204" pitchFamily="34" charset="0"/>
              <a:cs typeface="Arial" panose="020B0604020202020204" pitchFamily="34" charset="0"/>
            </a:endParaRPr>
          </a:p>
        </p:txBody>
      </p:sp>
      <p:pic>
        <p:nvPicPr>
          <p:cNvPr id="28" name="Picture 14"/>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rot="-935153" flipV="1">
            <a:off x="4020917" y="6702807"/>
            <a:ext cx="1908601" cy="579521"/>
          </a:xfrm>
          <a:prstGeom prst="rect">
            <a:avLst/>
          </a:prstGeom>
        </p:spPr>
      </p:pic>
      <p:grpSp>
        <p:nvGrpSpPr>
          <p:cNvPr id="29" name="Group 2"/>
          <p:cNvGrpSpPr/>
          <p:nvPr/>
        </p:nvGrpSpPr>
        <p:grpSpPr>
          <a:xfrm>
            <a:off x="5310465" y="7991917"/>
            <a:ext cx="10856876" cy="1468891"/>
            <a:chOff x="0" y="0"/>
            <a:chExt cx="7660157" cy="1060682"/>
          </a:xfrm>
        </p:grpSpPr>
        <p:sp>
          <p:nvSpPr>
            <p:cNvPr id="30" name="Freeform 3"/>
            <p:cNvSpPr/>
            <p:nvPr/>
          </p:nvSpPr>
          <p:spPr>
            <a:xfrm>
              <a:off x="0" y="-4262"/>
              <a:ext cx="7667903" cy="1067168"/>
            </a:xfrm>
            <a:custGeom>
              <a:avLst/>
              <a:gdLst/>
              <a:ahLst/>
              <a:cxnLst/>
              <a:rect l="l" t="t" r="r" b="b"/>
              <a:pathLst>
                <a:path w="7667903" h="1067168">
                  <a:moveTo>
                    <a:pt x="6729003" y="1055981"/>
                  </a:moveTo>
                  <a:cubicBezTo>
                    <a:pt x="6729003" y="1055981"/>
                    <a:pt x="6309251" y="1067168"/>
                    <a:pt x="5846666" y="1064547"/>
                  </a:cubicBezTo>
                  <a:cubicBezTo>
                    <a:pt x="2722712" y="1062384"/>
                    <a:pt x="1057073" y="1054560"/>
                    <a:pt x="1057073" y="1054560"/>
                  </a:cubicBezTo>
                  <a:cubicBezTo>
                    <a:pt x="812931" y="1045725"/>
                    <a:pt x="565145" y="1028744"/>
                    <a:pt x="398404" y="970567"/>
                  </a:cubicBezTo>
                  <a:cubicBezTo>
                    <a:pt x="120505" y="873605"/>
                    <a:pt x="0" y="696077"/>
                    <a:pt x="0" y="555062"/>
                  </a:cubicBezTo>
                  <a:lnTo>
                    <a:pt x="0" y="555061"/>
                  </a:lnTo>
                  <a:cubicBezTo>
                    <a:pt x="8536" y="440430"/>
                    <a:pt x="34263" y="311302"/>
                    <a:pt x="140291" y="225758"/>
                  </a:cubicBezTo>
                  <a:cubicBezTo>
                    <a:pt x="342602" y="62530"/>
                    <a:pt x="736658" y="7673"/>
                    <a:pt x="1155311" y="7673"/>
                  </a:cubicBezTo>
                  <a:cubicBezTo>
                    <a:pt x="1155311" y="7673"/>
                    <a:pt x="1551711" y="15681"/>
                    <a:pt x="4880807" y="7673"/>
                  </a:cubicBezTo>
                  <a:cubicBezTo>
                    <a:pt x="6090324" y="0"/>
                    <a:pt x="6554251" y="7673"/>
                    <a:pt x="6554251" y="7673"/>
                  </a:cubicBezTo>
                  <a:cubicBezTo>
                    <a:pt x="6922559" y="15152"/>
                    <a:pt x="7285872" y="84484"/>
                    <a:pt x="7483612" y="207066"/>
                  </a:cubicBezTo>
                  <a:cubicBezTo>
                    <a:pt x="7634629" y="300683"/>
                    <a:pt x="7667903" y="425358"/>
                    <a:pt x="7658763" y="555062"/>
                  </a:cubicBezTo>
                  <a:lnTo>
                    <a:pt x="7658763" y="555062"/>
                  </a:lnTo>
                  <a:cubicBezTo>
                    <a:pt x="7658763" y="814042"/>
                    <a:pt x="7375766" y="1028140"/>
                    <a:pt x="6729003" y="1055981"/>
                  </a:cubicBezTo>
                  <a:close/>
                </a:path>
              </a:pathLst>
            </a:custGeom>
            <a:solidFill>
              <a:srgbClr val="F8F8F8"/>
            </a:solidFill>
          </p:spPr>
        </p:sp>
      </p:grpSp>
      <p:pic>
        <p:nvPicPr>
          <p:cNvPr id="31" name="Picture 13"/>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rot="-8388669" flipH="1">
            <a:off x="3966010" y="8035254"/>
            <a:ext cx="2032578" cy="1086505"/>
          </a:xfrm>
          <a:prstGeom prst="rect">
            <a:avLst/>
          </a:prstGeom>
        </p:spPr>
      </p:pic>
      <p:sp>
        <p:nvSpPr>
          <p:cNvPr id="32" name="TextBox 9"/>
          <p:cNvSpPr txBox="1"/>
          <p:nvPr/>
        </p:nvSpPr>
        <p:spPr>
          <a:xfrm>
            <a:off x="5864641" y="8332304"/>
            <a:ext cx="9980491" cy="799963"/>
          </a:xfrm>
          <a:prstGeom prst="rect">
            <a:avLst/>
          </a:prstGeom>
        </p:spPr>
        <p:txBody>
          <a:bodyPr wrap="square" lIns="0" tIns="0" rIns="0" bIns="0" rtlCol="0" anchor="t">
            <a:spAutoFit/>
          </a:bodyPr>
          <a:lstStyle/>
          <a:p>
            <a:pPr algn="ctr">
              <a:lnSpc>
                <a:spcPts val="6800"/>
              </a:lnSpc>
            </a:pPr>
            <a:r>
              <a:rPr lang="en-US" sz="5000" dirty="0" smtClean="0">
                <a:solidFill>
                  <a:srgbClr val="000000"/>
                </a:solidFill>
                <a:latin typeface="Arial" panose="020B0604020202020204" pitchFamily="34" charset="0"/>
                <a:cs typeface="Arial" panose="020B0604020202020204" pitchFamily="34" charset="0"/>
              </a:rPr>
              <a:t>D. Luy Lâu (Bắc Ninh ngày nay)</a:t>
            </a:r>
            <a:endParaRPr lang="en-US" sz="5000" dirty="0">
              <a:solidFill>
                <a:srgbClr val="000000"/>
              </a:solidFill>
              <a:latin typeface="Arial" panose="020B0604020202020204" pitchFamily="34" charset="0"/>
              <a:cs typeface="Arial" panose="020B0604020202020204" pitchFamily="34" charset="0"/>
            </a:endParaRPr>
          </a:p>
        </p:txBody>
      </p:sp>
      <p:sp>
        <p:nvSpPr>
          <p:cNvPr id="4" name="Oval 3"/>
          <p:cNvSpPr/>
          <p:nvPr/>
        </p:nvSpPr>
        <p:spPr>
          <a:xfrm>
            <a:off x="5281250" y="3024511"/>
            <a:ext cx="798765" cy="88567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down)">
                                      <p:cBhvr>
                                        <p:cTn id="12" dur="500"/>
                                        <p:tgtEl>
                                          <p:spTgt spid="14"/>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wipe(down)">
                                      <p:cBhvr>
                                        <p:cTn id="15" dur="500"/>
                                        <p:tgtEl>
                                          <p:spTgt spid="18"/>
                                        </p:tgtEl>
                                      </p:cBhvr>
                                    </p:animEffect>
                                  </p:childTnLst>
                                </p:cTn>
                              </p:par>
                              <p:par>
                                <p:cTn id="16" presetID="22" presetClass="entr" presetSubtype="4" fill="hold" nodeType="with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wipe(down)">
                                      <p:cBhvr>
                                        <p:cTn id="18" dur="500"/>
                                        <p:tgtEl>
                                          <p:spTgt spid="2"/>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wipe(down)">
                                      <p:cBhvr>
                                        <p:cTn id="23" dur="500"/>
                                        <p:tgtEl>
                                          <p:spTgt spid="22"/>
                                        </p:tgtEl>
                                      </p:cBhvr>
                                    </p:animEffect>
                                  </p:childTnLst>
                                </p:cTn>
                              </p:par>
                              <p:par>
                                <p:cTn id="24" presetID="22" presetClass="entr" presetSubtype="4" fill="hold" grpId="0" nodeType="with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wipe(down)">
                                      <p:cBhvr>
                                        <p:cTn id="26" dur="500"/>
                                        <p:tgtEl>
                                          <p:spTgt spid="15"/>
                                        </p:tgtEl>
                                      </p:cBhvr>
                                    </p:animEffect>
                                  </p:childTnLst>
                                </p:cTn>
                              </p:par>
                              <p:par>
                                <p:cTn id="27" presetID="22" presetClass="entr" presetSubtype="4" fill="hold" nodeType="with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wipe(down)">
                                      <p:cBhvr>
                                        <p:cTn id="29" dur="500"/>
                                        <p:tgtEl>
                                          <p:spTgt spid="19"/>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nodeType="click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wipe(down)">
                                      <p:cBhvr>
                                        <p:cTn id="34" dur="500"/>
                                        <p:tgtEl>
                                          <p:spTgt spid="28"/>
                                        </p:tgtEl>
                                      </p:cBhvr>
                                    </p:animEffect>
                                  </p:childTnLst>
                                </p:cTn>
                              </p:par>
                              <p:par>
                                <p:cTn id="35" presetID="22" presetClass="entr" presetSubtype="4" fill="hold" grpId="0" nodeType="with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wipe(down)">
                                      <p:cBhvr>
                                        <p:cTn id="37" dur="500"/>
                                        <p:tgtEl>
                                          <p:spTgt spid="27"/>
                                        </p:tgtEl>
                                      </p:cBhvr>
                                    </p:animEffect>
                                  </p:childTnLst>
                                </p:cTn>
                              </p:par>
                              <p:par>
                                <p:cTn id="38" presetID="22" presetClass="entr" presetSubtype="4" fill="hold"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wipe(down)">
                                      <p:cBhvr>
                                        <p:cTn id="40" dur="500"/>
                                        <p:tgtEl>
                                          <p:spTgt spid="17"/>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nodeType="clickEffect">
                                  <p:stCondLst>
                                    <p:cond delay="0"/>
                                  </p:stCondLst>
                                  <p:childTnLst>
                                    <p:set>
                                      <p:cBhvr>
                                        <p:cTn id="44" dur="1" fill="hold">
                                          <p:stCondLst>
                                            <p:cond delay="0"/>
                                          </p:stCondLst>
                                        </p:cTn>
                                        <p:tgtEl>
                                          <p:spTgt spid="31"/>
                                        </p:tgtEl>
                                        <p:attrNameLst>
                                          <p:attrName>style.visibility</p:attrName>
                                        </p:attrNameLst>
                                      </p:cBhvr>
                                      <p:to>
                                        <p:strVal val="visible"/>
                                      </p:to>
                                    </p:set>
                                    <p:animEffect transition="in" filter="wipe(down)">
                                      <p:cBhvr>
                                        <p:cTn id="45" dur="500"/>
                                        <p:tgtEl>
                                          <p:spTgt spid="31"/>
                                        </p:tgtEl>
                                      </p:cBhvr>
                                    </p:animEffect>
                                  </p:childTnLst>
                                </p:cTn>
                              </p:par>
                              <p:par>
                                <p:cTn id="46" presetID="22" presetClass="entr" presetSubtype="4" fill="hold" grpId="0" nodeType="withEffect">
                                  <p:stCondLst>
                                    <p:cond delay="0"/>
                                  </p:stCondLst>
                                  <p:childTnLst>
                                    <p:set>
                                      <p:cBhvr>
                                        <p:cTn id="47" dur="1" fill="hold">
                                          <p:stCondLst>
                                            <p:cond delay="0"/>
                                          </p:stCondLst>
                                        </p:cTn>
                                        <p:tgtEl>
                                          <p:spTgt spid="32"/>
                                        </p:tgtEl>
                                        <p:attrNameLst>
                                          <p:attrName>style.visibility</p:attrName>
                                        </p:attrNameLst>
                                      </p:cBhvr>
                                      <p:to>
                                        <p:strVal val="visible"/>
                                      </p:to>
                                    </p:set>
                                    <p:animEffect transition="in" filter="wipe(down)">
                                      <p:cBhvr>
                                        <p:cTn id="48" dur="500"/>
                                        <p:tgtEl>
                                          <p:spTgt spid="32"/>
                                        </p:tgtEl>
                                      </p:cBhvr>
                                    </p:animEffect>
                                  </p:childTnLst>
                                </p:cTn>
                              </p:par>
                              <p:par>
                                <p:cTn id="49" presetID="22" presetClass="entr" presetSubtype="4" fill="hold" nodeType="withEffect">
                                  <p:stCondLst>
                                    <p:cond delay="0"/>
                                  </p:stCondLst>
                                  <p:childTnLst>
                                    <p:set>
                                      <p:cBhvr>
                                        <p:cTn id="50" dur="1" fill="hold">
                                          <p:stCondLst>
                                            <p:cond delay="0"/>
                                          </p:stCondLst>
                                        </p:cTn>
                                        <p:tgtEl>
                                          <p:spTgt spid="29"/>
                                        </p:tgtEl>
                                        <p:attrNameLst>
                                          <p:attrName>style.visibility</p:attrName>
                                        </p:attrNameLst>
                                      </p:cBhvr>
                                      <p:to>
                                        <p:strVal val="visible"/>
                                      </p:to>
                                    </p:set>
                                    <p:animEffect transition="in" filter="wipe(down)">
                                      <p:cBhvr>
                                        <p:cTn id="51" dur="500"/>
                                        <p:tgtEl>
                                          <p:spTgt spid="29"/>
                                        </p:tgtEl>
                                      </p:cBhvr>
                                    </p:animEffect>
                                  </p:childTnLst>
                                </p:cTn>
                              </p:par>
                            </p:childTnLst>
                          </p:cTn>
                        </p:par>
                      </p:childTnLst>
                    </p:cTn>
                  </p:par>
                  <p:par>
                    <p:cTn id="52" fill="hold">
                      <p:stCondLst>
                        <p:cond delay="indefinite"/>
                      </p:stCondLst>
                      <p:childTnLst>
                        <p:par>
                          <p:cTn id="53" fill="hold">
                            <p:stCondLst>
                              <p:cond delay="0"/>
                            </p:stCondLst>
                            <p:childTnLst>
                              <p:par>
                                <p:cTn id="54" presetID="16" presetClass="entr" presetSubtype="21" fill="hold" grpId="0" nodeType="clickEffect">
                                  <p:stCondLst>
                                    <p:cond delay="0"/>
                                  </p:stCondLst>
                                  <p:childTnLst>
                                    <p:set>
                                      <p:cBhvr>
                                        <p:cTn id="55" dur="1" fill="hold">
                                          <p:stCondLst>
                                            <p:cond delay="0"/>
                                          </p:stCondLst>
                                        </p:cTn>
                                        <p:tgtEl>
                                          <p:spTgt spid="4"/>
                                        </p:tgtEl>
                                        <p:attrNameLst>
                                          <p:attrName>style.visibility</p:attrName>
                                        </p:attrNameLst>
                                      </p:cBhvr>
                                      <p:to>
                                        <p:strVal val="visible"/>
                                      </p:to>
                                    </p:set>
                                    <p:animEffect transition="in" filter="barn(inVertical)">
                                      <p:cBhvr>
                                        <p:cTn id="5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3" grpId="0"/>
      <p:bldP spid="15" grpId="0"/>
      <p:bldP spid="27" grpId="0"/>
      <p:bldP spid="32" grpId="0"/>
      <p:bldP spid="4"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F3CB63"/>
        </a:solidFill>
        <a:effectLst/>
      </p:bgPr>
    </p:bg>
    <p:spTree>
      <p:nvGrpSpPr>
        <p:cNvPr id="1" name=""/>
        <p:cNvGrpSpPr/>
        <p:nvPr/>
      </p:nvGrpSpPr>
      <p:grpSpPr>
        <a:xfrm>
          <a:off x="0" y="0"/>
          <a:ext cx="0" cy="0"/>
          <a:chOff x="0" y="0"/>
          <a:chExt cx="0" cy="0"/>
        </a:xfrm>
      </p:grpSpPr>
      <p:grpSp>
        <p:nvGrpSpPr>
          <p:cNvPr id="14" name="Group 3"/>
          <p:cNvGrpSpPr/>
          <p:nvPr/>
        </p:nvGrpSpPr>
        <p:grpSpPr>
          <a:xfrm>
            <a:off x="533400" y="2781300"/>
            <a:ext cx="7573170" cy="2743200"/>
            <a:chOff x="0" y="0"/>
            <a:chExt cx="1648157" cy="935318"/>
          </a:xfrm>
        </p:grpSpPr>
        <p:sp>
          <p:nvSpPr>
            <p:cNvPr id="15" name="Freeform 4"/>
            <p:cNvSpPr/>
            <p:nvPr/>
          </p:nvSpPr>
          <p:spPr>
            <a:xfrm>
              <a:off x="0" y="0"/>
              <a:ext cx="1648157" cy="935318"/>
            </a:xfrm>
            <a:custGeom>
              <a:avLst/>
              <a:gdLst/>
              <a:ahLst/>
              <a:cxnLst/>
              <a:rect l="l" t="t" r="r" b="b"/>
              <a:pathLst>
                <a:path w="1648157" h="935318">
                  <a:moveTo>
                    <a:pt x="1523697" y="935318"/>
                  </a:moveTo>
                  <a:lnTo>
                    <a:pt x="124460" y="935318"/>
                  </a:lnTo>
                  <a:cubicBezTo>
                    <a:pt x="55880" y="935318"/>
                    <a:pt x="0" y="879438"/>
                    <a:pt x="0" y="810858"/>
                  </a:cubicBezTo>
                  <a:lnTo>
                    <a:pt x="0" y="124460"/>
                  </a:lnTo>
                  <a:cubicBezTo>
                    <a:pt x="0" y="55880"/>
                    <a:pt x="55880" y="0"/>
                    <a:pt x="124460" y="0"/>
                  </a:cubicBezTo>
                  <a:lnTo>
                    <a:pt x="1523697" y="0"/>
                  </a:lnTo>
                  <a:cubicBezTo>
                    <a:pt x="1592277" y="0"/>
                    <a:pt x="1648157" y="55880"/>
                    <a:pt x="1648157" y="124460"/>
                  </a:cubicBezTo>
                  <a:lnTo>
                    <a:pt x="1648157" y="810858"/>
                  </a:lnTo>
                  <a:cubicBezTo>
                    <a:pt x="1648157" y="879438"/>
                    <a:pt x="1592277" y="935318"/>
                    <a:pt x="1523697" y="935318"/>
                  </a:cubicBezTo>
                  <a:close/>
                </a:path>
              </a:pathLst>
            </a:custGeom>
            <a:solidFill>
              <a:srgbClr val="FFFFFF"/>
            </a:solidFill>
          </p:spPr>
        </p:sp>
      </p:grpSp>
      <p:pic>
        <p:nvPicPr>
          <p:cNvPr id="16" name="Picture 9"/>
          <p:cNvPicPr>
            <a:picLocks noChangeAspect="1"/>
          </p:cNvPicPr>
          <p:nvPr/>
        </p:nvPicPr>
        <p:blipFill>
          <a:blip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rot="-5400000">
            <a:off x="3686969" y="2326869"/>
            <a:ext cx="908861" cy="908861"/>
          </a:xfrm>
          <a:prstGeom prst="rect">
            <a:avLst/>
          </a:prstGeom>
        </p:spPr>
      </p:pic>
      <p:sp>
        <p:nvSpPr>
          <p:cNvPr id="17" name="TextBox 12"/>
          <p:cNvSpPr txBox="1"/>
          <p:nvPr/>
        </p:nvSpPr>
        <p:spPr>
          <a:xfrm>
            <a:off x="533400" y="4126712"/>
            <a:ext cx="7352168" cy="506805"/>
          </a:xfrm>
          <a:prstGeom prst="rect">
            <a:avLst/>
          </a:prstGeom>
        </p:spPr>
        <p:txBody>
          <a:bodyPr wrap="square" lIns="0" tIns="0" rIns="0" bIns="0" rtlCol="0" anchor="t">
            <a:spAutoFit/>
          </a:bodyPr>
          <a:lstStyle/>
          <a:p>
            <a:pPr algn="ctr">
              <a:lnSpc>
                <a:spcPts val="3640"/>
              </a:lnSpc>
              <a:spcBef>
                <a:spcPct val="0"/>
              </a:spcBef>
            </a:pPr>
            <a:r>
              <a:rPr lang="en-US" sz="5500" spc="56" dirty="0" smtClean="0">
                <a:solidFill>
                  <a:srgbClr val="14110F"/>
                </a:solidFill>
                <a:latin typeface="Arial" panose="020B0604020202020204" pitchFamily="34" charset="0"/>
                <a:cs typeface="Arial" panose="020B0604020202020204" pitchFamily="34" charset="0"/>
              </a:rPr>
              <a:t>A. Bồ chính</a:t>
            </a:r>
            <a:endParaRPr lang="en-US" sz="5500" spc="56" dirty="0">
              <a:solidFill>
                <a:srgbClr val="14110F"/>
              </a:solidFill>
              <a:latin typeface="Arial" panose="020B0604020202020204" pitchFamily="34" charset="0"/>
              <a:cs typeface="Arial" panose="020B0604020202020204" pitchFamily="34" charset="0"/>
            </a:endParaRPr>
          </a:p>
        </p:txBody>
      </p:sp>
      <p:sp>
        <p:nvSpPr>
          <p:cNvPr id="22" name="Rectangle 21"/>
          <p:cNvSpPr/>
          <p:nvPr/>
        </p:nvSpPr>
        <p:spPr>
          <a:xfrm>
            <a:off x="0" y="1261748"/>
            <a:ext cx="18287999" cy="938719"/>
          </a:xfrm>
          <a:prstGeom prst="rect">
            <a:avLst/>
          </a:prstGeom>
        </p:spPr>
        <p:txBody>
          <a:bodyPr wrap="square">
            <a:spAutoFit/>
          </a:bodyPr>
          <a:lstStyle/>
          <a:p>
            <a:pPr algn="ctr"/>
            <a:r>
              <a:rPr lang="en-US" sz="5500" dirty="0" smtClean="0">
                <a:solidFill>
                  <a:schemeClr val="tx1">
                    <a:lumMod val="95000"/>
                    <a:lumOff val="5000"/>
                  </a:schemeClr>
                </a:solidFill>
                <a:latin typeface="Arial" panose="020B0604020202020204" pitchFamily="34" charset="0"/>
                <a:cs typeface="Arial" panose="020B0604020202020204" pitchFamily="34" charset="0"/>
              </a:rPr>
              <a:t>Đứng đầu chiềng, chạ thời Hùng Vương</a:t>
            </a:r>
            <a:endParaRPr lang="en-US" sz="5500" dirty="0">
              <a:solidFill>
                <a:schemeClr val="tx1">
                  <a:lumMod val="95000"/>
                  <a:lumOff val="5000"/>
                </a:schemeClr>
              </a:solidFill>
              <a:latin typeface="Arial" panose="020B0604020202020204" pitchFamily="34" charset="0"/>
              <a:cs typeface="Arial" panose="020B0604020202020204" pitchFamily="34" charset="0"/>
            </a:endParaRPr>
          </a:p>
        </p:txBody>
      </p:sp>
      <p:grpSp>
        <p:nvGrpSpPr>
          <p:cNvPr id="10" name="Group 3"/>
          <p:cNvGrpSpPr/>
          <p:nvPr/>
        </p:nvGrpSpPr>
        <p:grpSpPr>
          <a:xfrm>
            <a:off x="685800" y="6420660"/>
            <a:ext cx="7573170" cy="2743200"/>
            <a:chOff x="0" y="0"/>
            <a:chExt cx="1648157" cy="935318"/>
          </a:xfrm>
        </p:grpSpPr>
        <p:sp>
          <p:nvSpPr>
            <p:cNvPr id="11" name="Freeform 4"/>
            <p:cNvSpPr/>
            <p:nvPr/>
          </p:nvSpPr>
          <p:spPr>
            <a:xfrm>
              <a:off x="0" y="0"/>
              <a:ext cx="1648157" cy="935318"/>
            </a:xfrm>
            <a:custGeom>
              <a:avLst/>
              <a:gdLst/>
              <a:ahLst/>
              <a:cxnLst/>
              <a:rect l="l" t="t" r="r" b="b"/>
              <a:pathLst>
                <a:path w="1648157" h="935318">
                  <a:moveTo>
                    <a:pt x="1523697" y="935318"/>
                  </a:moveTo>
                  <a:lnTo>
                    <a:pt x="124460" y="935318"/>
                  </a:lnTo>
                  <a:cubicBezTo>
                    <a:pt x="55880" y="935318"/>
                    <a:pt x="0" y="879438"/>
                    <a:pt x="0" y="810858"/>
                  </a:cubicBezTo>
                  <a:lnTo>
                    <a:pt x="0" y="124460"/>
                  </a:lnTo>
                  <a:cubicBezTo>
                    <a:pt x="0" y="55880"/>
                    <a:pt x="55880" y="0"/>
                    <a:pt x="124460" y="0"/>
                  </a:cubicBezTo>
                  <a:lnTo>
                    <a:pt x="1523697" y="0"/>
                  </a:lnTo>
                  <a:cubicBezTo>
                    <a:pt x="1592277" y="0"/>
                    <a:pt x="1648157" y="55880"/>
                    <a:pt x="1648157" y="124460"/>
                  </a:cubicBezTo>
                  <a:lnTo>
                    <a:pt x="1648157" y="810858"/>
                  </a:lnTo>
                  <a:cubicBezTo>
                    <a:pt x="1648157" y="879438"/>
                    <a:pt x="1592277" y="935318"/>
                    <a:pt x="1523697" y="935318"/>
                  </a:cubicBezTo>
                  <a:close/>
                </a:path>
              </a:pathLst>
            </a:custGeom>
            <a:solidFill>
              <a:srgbClr val="FFFFFF"/>
            </a:solidFill>
          </p:spPr>
        </p:sp>
      </p:grpSp>
      <p:pic>
        <p:nvPicPr>
          <p:cNvPr id="12" name="Picture 9"/>
          <p:cNvPicPr>
            <a:picLocks noChangeAspect="1"/>
          </p:cNvPicPr>
          <p:nvPr/>
        </p:nvPicPr>
        <p:blipFill>
          <a:blip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rot="-5400000">
            <a:off x="3839369" y="5966229"/>
            <a:ext cx="908861" cy="908861"/>
          </a:xfrm>
          <a:prstGeom prst="rect">
            <a:avLst/>
          </a:prstGeom>
        </p:spPr>
      </p:pic>
      <p:sp>
        <p:nvSpPr>
          <p:cNvPr id="13" name="TextBox 12"/>
          <p:cNvSpPr txBox="1"/>
          <p:nvPr/>
        </p:nvSpPr>
        <p:spPr>
          <a:xfrm>
            <a:off x="685800" y="7766072"/>
            <a:ext cx="7352168" cy="506805"/>
          </a:xfrm>
          <a:prstGeom prst="rect">
            <a:avLst/>
          </a:prstGeom>
        </p:spPr>
        <p:txBody>
          <a:bodyPr wrap="square" lIns="0" tIns="0" rIns="0" bIns="0" rtlCol="0" anchor="t">
            <a:spAutoFit/>
          </a:bodyPr>
          <a:lstStyle/>
          <a:p>
            <a:pPr algn="ctr">
              <a:lnSpc>
                <a:spcPts val="3640"/>
              </a:lnSpc>
              <a:spcBef>
                <a:spcPct val="0"/>
              </a:spcBef>
            </a:pPr>
            <a:r>
              <a:rPr lang="en-US" sz="5500" spc="56" dirty="0" smtClean="0">
                <a:solidFill>
                  <a:srgbClr val="14110F"/>
                </a:solidFill>
                <a:latin typeface="Arial" panose="020B0604020202020204" pitchFamily="34" charset="0"/>
                <a:cs typeface="Arial" panose="020B0604020202020204" pitchFamily="34" charset="0"/>
              </a:rPr>
              <a:t>B. Lạc hầu</a:t>
            </a:r>
            <a:endParaRPr lang="en-US" sz="5500" spc="56" dirty="0">
              <a:solidFill>
                <a:srgbClr val="14110F"/>
              </a:solidFill>
              <a:latin typeface="Arial" panose="020B0604020202020204" pitchFamily="34" charset="0"/>
              <a:cs typeface="Arial" panose="020B0604020202020204" pitchFamily="34" charset="0"/>
            </a:endParaRPr>
          </a:p>
        </p:txBody>
      </p:sp>
      <p:grpSp>
        <p:nvGrpSpPr>
          <p:cNvPr id="18" name="Group 3"/>
          <p:cNvGrpSpPr/>
          <p:nvPr/>
        </p:nvGrpSpPr>
        <p:grpSpPr>
          <a:xfrm>
            <a:off x="9372600" y="2736801"/>
            <a:ext cx="7573170" cy="2743200"/>
            <a:chOff x="0" y="0"/>
            <a:chExt cx="1648157" cy="935318"/>
          </a:xfrm>
        </p:grpSpPr>
        <p:sp>
          <p:nvSpPr>
            <p:cNvPr id="20" name="Freeform 4"/>
            <p:cNvSpPr/>
            <p:nvPr/>
          </p:nvSpPr>
          <p:spPr>
            <a:xfrm>
              <a:off x="0" y="0"/>
              <a:ext cx="1648157" cy="935318"/>
            </a:xfrm>
            <a:custGeom>
              <a:avLst/>
              <a:gdLst/>
              <a:ahLst/>
              <a:cxnLst/>
              <a:rect l="l" t="t" r="r" b="b"/>
              <a:pathLst>
                <a:path w="1648157" h="935318">
                  <a:moveTo>
                    <a:pt x="1523697" y="935318"/>
                  </a:moveTo>
                  <a:lnTo>
                    <a:pt x="124460" y="935318"/>
                  </a:lnTo>
                  <a:cubicBezTo>
                    <a:pt x="55880" y="935318"/>
                    <a:pt x="0" y="879438"/>
                    <a:pt x="0" y="810858"/>
                  </a:cubicBezTo>
                  <a:lnTo>
                    <a:pt x="0" y="124460"/>
                  </a:lnTo>
                  <a:cubicBezTo>
                    <a:pt x="0" y="55880"/>
                    <a:pt x="55880" y="0"/>
                    <a:pt x="124460" y="0"/>
                  </a:cubicBezTo>
                  <a:lnTo>
                    <a:pt x="1523697" y="0"/>
                  </a:lnTo>
                  <a:cubicBezTo>
                    <a:pt x="1592277" y="0"/>
                    <a:pt x="1648157" y="55880"/>
                    <a:pt x="1648157" y="124460"/>
                  </a:cubicBezTo>
                  <a:lnTo>
                    <a:pt x="1648157" y="810858"/>
                  </a:lnTo>
                  <a:cubicBezTo>
                    <a:pt x="1648157" y="879438"/>
                    <a:pt x="1592277" y="935318"/>
                    <a:pt x="1523697" y="935318"/>
                  </a:cubicBezTo>
                  <a:close/>
                </a:path>
              </a:pathLst>
            </a:custGeom>
            <a:solidFill>
              <a:srgbClr val="FFFFFF"/>
            </a:solidFill>
          </p:spPr>
        </p:sp>
      </p:grpSp>
      <p:pic>
        <p:nvPicPr>
          <p:cNvPr id="23" name="Picture 9"/>
          <p:cNvPicPr>
            <a:picLocks noChangeAspect="1"/>
          </p:cNvPicPr>
          <p:nvPr/>
        </p:nvPicPr>
        <p:blipFill>
          <a:blip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rot="-5400000">
            <a:off x="12526169" y="2282370"/>
            <a:ext cx="908861" cy="908861"/>
          </a:xfrm>
          <a:prstGeom prst="rect">
            <a:avLst/>
          </a:prstGeom>
        </p:spPr>
      </p:pic>
      <p:sp>
        <p:nvSpPr>
          <p:cNvPr id="24" name="TextBox 12"/>
          <p:cNvSpPr txBox="1"/>
          <p:nvPr/>
        </p:nvSpPr>
        <p:spPr>
          <a:xfrm>
            <a:off x="9372600" y="4082213"/>
            <a:ext cx="7352168" cy="506805"/>
          </a:xfrm>
          <a:prstGeom prst="rect">
            <a:avLst/>
          </a:prstGeom>
        </p:spPr>
        <p:txBody>
          <a:bodyPr wrap="square" lIns="0" tIns="0" rIns="0" bIns="0" rtlCol="0" anchor="t">
            <a:spAutoFit/>
          </a:bodyPr>
          <a:lstStyle/>
          <a:p>
            <a:pPr algn="ctr">
              <a:lnSpc>
                <a:spcPts val="3640"/>
              </a:lnSpc>
              <a:spcBef>
                <a:spcPct val="0"/>
              </a:spcBef>
            </a:pPr>
            <a:r>
              <a:rPr lang="en-US" sz="5500" spc="56" dirty="0" smtClean="0">
                <a:solidFill>
                  <a:srgbClr val="14110F"/>
                </a:solidFill>
                <a:latin typeface="Arial" panose="020B0604020202020204" pitchFamily="34" charset="0"/>
                <a:cs typeface="Arial" panose="020B0604020202020204" pitchFamily="34" charset="0"/>
              </a:rPr>
              <a:t>C. Lạc tướng</a:t>
            </a:r>
            <a:endParaRPr lang="en-US" sz="5500" spc="56" dirty="0">
              <a:solidFill>
                <a:srgbClr val="14110F"/>
              </a:solidFill>
              <a:latin typeface="Arial" panose="020B0604020202020204" pitchFamily="34" charset="0"/>
              <a:cs typeface="Arial" panose="020B0604020202020204" pitchFamily="34" charset="0"/>
            </a:endParaRPr>
          </a:p>
        </p:txBody>
      </p:sp>
      <p:grpSp>
        <p:nvGrpSpPr>
          <p:cNvPr id="25" name="Group 3"/>
          <p:cNvGrpSpPr/>
          <p:nvPr/>
        </p:nvGrpSpPr>
        <p:grpSpPr>
          <a:xfrm>
            <a:off x="9467016" y="6394472"/>
            <a:ext cx="7573170" cy="2743200"/>
            <a:chOff x="0" y="0"/>
            <a:chExt cx="1648157" cy="935318"/>
          </a:xfrm>
        </p:grpSpPr>
        <p:sp>
          <p:nvSpPr>
            <p:cNvPr id="26" name="Freeform 4"/>
            <p:cNvSpPr/>
            <p:nvPr/>
          </p:nvSpPr>
          <p:spPr>
            <a:xfrm>
              <a:off x="0" y="0"/>
              <a:ext cx="1648157" cy="935318"/>
            </a:xfrm>
            <a:custGeom>
              <a:avLst/>
              <a:gdLst/>
              <a:ahLst/>
              <a:cxnLst/>
              <a:rect l="l" t="t" r="r" b="b"/>
              <a:pathLst>
                <a:path w="1648157" h="935318">
                  <a:moveTo>
                    <a:pt x="1523697" y="935318"/>
                  </a:moveTo>
                  <a:lnTo>
                    <a:pt x="124460" y="935318"/>
                  </a:lnTo>
                  <a:cubicBezTo>
                    <a:pt x="55880" y="935318"/>
                    <a:pt x="0" y="879438"/>
                    <a:pt x="0" y="810858"/>
                  </a:cubicBezTo>
                  <a:lnTo>
                    <a:pt x="0" y="124460"/>
                  </a:lnTo>
                  <a:cubicBezTo>
                    <a:pt x="0" y="55880"/>
                    <a:pt x="55880" y="0"/>
                    <a:pt x="124460" y="0"/>
                  </a:cubicBezTo>
                  <a:lnTo>
                    <a:pt x="1523697" y="0"/>
                  </a:lnTo>
                  <a:cubicBezTo>
                    <a:pt x="1592277" y="0"/>
                    <a:pt x="1648157" y="55880"/>
                    <a:pt x="1648157" y="124460"/>
                  </a:cubicBezTo>
                  <a:lnTo>
                    <a:pt x="1648157" y="810858"/>
                  </a:lnTo>
                  <a:cubicBezTo>
                    <a:pt x="1648157" y="879438"/>
                    <a:pt x="1592277" y="935318"/>
                    <a:pt x="1523697" y="935318"/>
                  </a:cubicBezTo>
                  <a:close/>
                </a:path>
              </a:pathLst>
            </a:custGeom>
            <a:solidFill>
              <a:srgbClr val="FFFFFF"/>
            </a:solidFill>
          </p:spPr>
        </p:sp>
      </p:grpSp>
      <p:pic>
        <p:nvPicPr>
          <p:cNvPr id="27" name="Picture 9"/>
          <p:cNvPicPr>
            <a:picLocks noChangeAspect="1"/>
          </p:cNvPicPr>
          <p:nvPr/>
        </p:nvPicPr>
        <p:blipFill>
          <a:blip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rot="-5400000">
            <a:off x="12620585" y="5940041"/>
            <a:ext cx="908861" cy="908861"/>
          </a:xfrm>
          <a:prstGeom prst="rect">
            <a:avLst/>
          </a:prstGeom>
        </p:spPr>
      </p:pic>
      <p:sp>
        <p:nvSpPr>
          <p:cNvPr id="28" name="TextBox 12"/>
          <p:cNvSpPr txBox="1"/>
          <p:nvPr/>
        </p:nvSpPr>
        <p:spPr>
          <a:xfrm>
            <a:off x="9467016" y="7739884"/>
            <a:ext cx="7352168" cy="506805"/>
          </a:xfrm>
          <a:prstGeom prst="rect">
            <a:avLst/>
          </a:prstGeom>
        </p:spPr>
        <p:txBody>
          <a:bodyPr wrap="square" lIns="0" tIns="0" rIns="0" bIns="0" rtlCol="0" anchor="t">
            <a:spAutoFit/>
          </a:bodyPr>
          <a:lstStyle/>
          <a:p>
            <a:pPr algn="ctr">
              <a:lnSpc>
                <a:spcPts val="3640"/>
              </a:lnSpc>
              <a:spcBef>
                <a:spcPct val="0"/>
              </a:spcBef>
            </a:pPr>
            <a:r>
              <a:rPr lang="en-US" sz="5500" spc="56" dirty="0" smtClean="0">
                <a:solidFill>
                  <a:srgbClr val="14110F"/>
                </a:solidFill>
                <a:latin typeface="Arial" panose="020B0604020202020204" pitchFamily="34" charset="0"/>
                <a:cs typeface="Arial" panose="020B0604020202020204" pitchFamily="34" charset="0"/>
              </a:rPr>
              <a:t>D. Quan lại</a:t>
            </a:r>
            <a:endParaRPr lang="en-US" sz="5500" spc="56" dirty="0">
              <a:solidFill>
                <a:srgbClr val="14110F"/>
              </a:solidFill>
              <a:latin typeface="Arial" panose="020B0604020202020204" pitchFamily="34" charset="0"/>
              <a:cs typeface="Arial" panose="020B0604020202020204" pitchFamily="34" charset="0"/>
            </a:endParaRPr>
          </a:p>
        </p:txBody>
      </p:sp>
      <p:sp>
        <p:nvSpPr>
          <p:cNvPr id="3" name="Oval 2"/>
          <p:cNvSpPr/>
          <p:nvPr/>
        </p:nvSpPr>
        <p:spPr>
          <a:xfrm>
            <a:off x="2057400" y="3695700"/>
            <a:ext cx="1143000" cy="12954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down)">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barn(inVertical)">
                                      <p:cBhvr>
                                        <p:cTn id="12" dur="500"/>
                                        <p:tgtEl>
                                          <p:spTgt spid="16"/>
                                        </p:tgtEl>
                                      </p:cBhvr>
                                    </p:animEffect>
                                  </p:childTnLst>
                                </p:cTn>
                              </p:par>
                              <p:par>
                                <p:cTn id="13" presetID="16" presetClass="entr" presetSubtype="21"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barn(inVertical)">
                                      <p:cBhvr>
                                        <p:cTn id="15" dur="500"/>
                                        <p:tgtEl>
                                          <p:spTgt spid="17"/>
                                        </p:tgtEl>
                                      </p:cBhvr>
                                    </p:animEffect>
                                  </p:childTnLst>
                                </p:cTn>
                              </p:par>
                              <p:par>
                                <p:cTn id="16" presetID="16" presetClass="entr" presetSubtype="21" fill="hold"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barn(inVertical)">
                                      <p:cBhvr>
                                        <p:cTn id="18" dur="500"/>
                                        <p:tgtEl>
                                          <p:spTgt spid="14"/>
                                        </p:tgtEl>
                                      </p:cBhvr>
                                    </p:animEffect>
                                  </p:childTnLst>
                                </p:cTn>
                              </p:par>
                            </p:childTnLst>
                          </p:cTn>
                        </p:par>
                      </p:childTnLst>
                    </p:cTn>
                  </p:par>
                  <p:par>
                    <p:cTn id="19" fill="hold">
                      <p:stCondLst>
                        <p:cond delay="indefinite"/>
                      </p:stCondLst>
                      <p:childTnLst>
                        <p:par>
                          <p:cTn id="20" fill="hold">
                            <p:stCondLst>
                              <p:cond delay="0"/>
                            </p:stCondLst>
                            <p:childTnLst>
                              <p:par>
                                <p:cTn id="21" presetID="16" presetClass="entr" presetSubtype="21"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barn(inVertical)">
                                      <p:cBhvr>
                                        <p:cTn id="23" dur="500"/>
                                        <p:tgtEl>
                                          <p:spTgt spid="10"/>
                                        </p:tgtEl>
                                      </p:cBhvr>
                                    </p:animEffect>
                                  </p:childTnLst>
                                </p:cTn>
                              </p:par>
                              <p:par>
                                <p:cTn id="24" presetID="16" presetClass="entr" presetSubtype="21" fill="hold"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barn(inVertical)">
                                      <p:cBhvr>
                                        <p:cTn id="26" dur="500"/>
                                        <p:tgtEl>
                                          <p:spTgt spid="12"/>
                                        </p:tgtEl>
                                      </p:cBhvr>
                                    </p:animEffect>
                                  </p:childTnLst>
                                </p:cTn>
                              </p:par>
                              <p:par>
                                <p:cTn id="27" presetID="16" presetClass="entr" presetSubtype="21" fill="hold" grpId="0" nodeType="with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barn(inVertical)">
                                      <p:cBhvr>
                                        <p:cTn id="29" dur="500"/>
                                        <p:tgtEl>
                                          <p:spTgt spid="13"/>
                                        </p:tgtEl>
                                      </p:cBhvr>
                                    </p:animEffect>
                                  </p:childTnLst>
                                </p:cTn>
                              </p:par>
                            </p:childTnLst>
                          </p:cTn>
                        </p:par>
                      </p:childTnLst>
                    </p:cTn>
                  </p:par>
                  <p:par>
                    <p:cTn id="30" fill="hold">
                      <p:stCondLst>
                        <p:cond delay="indefinite"/>
                      </p:stCondLst>
                      <p:childTnLst>
                        <p:par>
                          <p:cTn id="31" fill="hold">
                            <p:stCondLst>
                              <p:cond delay="0"/>
                            </p:stCondLst>
                            <p:childTnLst>
                              <p:par>
                                <p:cTn id="32" presetID="16" presetClass="entr" presetSubtype="21" fill="hold" grpId="0" nodeType="click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barn(inVertical)">
                                      <p:cBhvr>
                                        <p:cTn id="34" dur="500"/>
                                        <p:tgtEl>
                                          <p:spTgt spid="28"/>
                                        </p:tgtEl>
                                      </p:cBhvr>
                                    </p:animEffect>
                                  </p:childTnLst>
                                </p:cTn>
                              </p:par>
                              <p:par>
                                <p:cTn id="35" presetID="16" presetClass="entr" presetSubtype="21"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barn(inVertical)">
                                      <p:cBhvr>
                                        <p:cTn id="37" dur="500"/>
                                        <p:tgtEl>
                                          <p:spTgt spid="25"/>
                                        </p:tgtEl>
                                      </p:cBhvr>
                                    </p:animEffect>
                                  </p:childTnLst>
                                </p:cTn>
                              </p:par>
                              <p:par>
                                <p:cTn id="38" presetID="16" presetClass="entr" presetSubtype="21" fill="hold" nodeType="withEffect">
                                  <p:stCondLst>
                                    <p:cond delay="0"/>
                                  </p:stCondLst>
                                  <p:childTnLst>
                                    <p:set>
                                      <p:cBhvr>
                                        <p:cTn id="39" dur="1" fill="hold">
                                          <p:stCondLst>
                                            <p:cond delay="0"/>
                                          </p:stCondLst>
                                        </p:cTn>
                                        <p:tgtEl>
                                          <p:spTgt spid="27"/>
                                        </p:tgtEl>
                                        <p:attrNameLst>
                                          <p:attrName>style.visibility</p:attrName>
                                        </p:attrNameLst>
                                      </p:cBhvr>
                                      <p:to>
                                        <p:strVal val="visible"/>
                                      </p:to>
                                    </p:set>
                                    <p:animEffect transition="in" filter="barn(inVertical)">
                                      <p:cBhvr>
                                        <p:cTn id="40" dur="500"/>
                                        <p:tgtEl>
                                          <p:spTgt spid="27"/>
                                        </p:tgtEl>
                                      </p:cBhvr>
                                    </p:animEffect>
                                  </p:childTnLst>
                                </p:cTn>
                              </p:par>
                            </p:childTnLst>
                          </p:cTn>
                        </p:par>
                      </p:childTnLst>
                    </p:cTn>
                  </p:par>
                  <p:par>
                    <p:cTn id="41" fill="hold">
                      <p:stCondLst>
                        <p:cond delay="indefinite"/>
                      </p:stCondLst>
                      <p:childTnLst>
                        <p:par>
                          <p:cTn id="42" fill="hold">
                            <p:stCondLst>
                              <p:cond delay="0"/>
                            </p:stCondLst>
                            <p:childTnLst>
                              <p:par>
                                <p:cTn id="43" presetID="16" presetClass="entr" presetSubtype="21" fill="hold" grpId="0" nodeType="click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barn(inVertical)">
                                      <p:cBhvr>
                                        <p:cTn id="45" dur="500"/>
                                        <p:tgtEl>
                                          <p:spTgt spid="24"/>
                                        </p:tgtEl>
                                      </p:cBhvr>
                                    </p:animEffect>
                                  </p:childTnLst>
                                </p:cTn>
                              </p:par>
                              <p:par>
                                <p:cTn id="46" presetID="16" presetClass="entr" presetSubtype="21" fill="hold" nodeType="withEffect">
                                  <p:stCondLst>
                                    <p:cond delay="0"/>
                                  </p:stCondLst>
                                  <p:childTnLst>
                                    <p:set>
                                      <p:cBhvr>
                                        <p:cTn id="47" dur="1" fill="hold">
                                          <p:stCondLst>
                                            <p:cond delay="0"/>
                                          </p:stCondLst>
                                        </p:cTn>
                                        <p:tgtEl>
                                          <p:spTgt spid="18"/>
                                        </p:tgtEl>
                                        <p:attrNameLst>
                                          <p:attrName>style.visibility</p:attrName>
                                        </p:attrNameLst>
                                      </p:cBhvr>
                                      <p:to>
                                        <p:strVal val="visible"/>
                                      </p:to>
                                    </p:set>
                                    <p:animEffect transition="in" filter="barn(inVertical)">
                                      <p:cBhvr>
                                        <p:cTn id="48" dur="500"/>
                                        <p:tgtEl>
                                          <p:spTgt spid="18"/>
                                        </p:tgtEl>
                                      </p:cBhvr>
                                    </p:animEffect>
                                  </p:childTnLst>
                                </p:cTn>
                              </p:par>
                              <p:par>
                                <p:cTn id="49" presetID="16" presetClass="entr" presetSubtype="21" fill="hold" nodeType="withEffect">
                                  <p:stCondLst>
                                    <p:cond delay="0"/>
                                  </p:stCondLst>
                                  <p:childTnLst>
                                    <p:set>
                                      <p:cBhvr>
                                        <p:cTn id="50" dur="1" fill="hold">
                                          <p:stCondLst>
                                            <p:cond delay="0"/>
                                          </p:stCondLst>
                                        </p:cTn>
                                        <p:tgtEl>
                                          <p:spTgt spid="23"/>
                                        </p:tgtEl>
                                        <p:attrNameLst>
                                          <p:attrName>style.visibility</p:attrName>
                                        </p:attrNameLst>
                                      </p:cBhvr>
                                      <p:to>
                                        <p:strVal val="visible"/>
                                      </p:to>
                                    </p:set>
                                    <p:animEffect transition="in" filter="barn(inVertical)">
                                      <p:cBhvr>
                                        <p:cTn id="51" dur="500"/>
                                        <p:tgtEl>
                                          <p:spTgt spid="23"/>
                                        </p:tgtEl>
                                      </p:cBhvr>
                                    </p:animEffect>
                                  </p:childTnLst>
                                </p:cTn>
                              </p:par>
                            </p:childTnLst>
                          </p:cTn>
                        </p:par>
                      </p:childTnLst>
                    </p:cTn>
                  </p:par>
                  <p:par>
                    <p:cTn id="52" fill="hold">
                      <p:stCondLst>
                        <p:cond delay="indefinite"/>
                      </p:stCondLst>
                      <p:childTnLst>
                        <p:par>
                          <p:cTn id="53" fill="hold">
                            <p:stCondLst>
                              <p:cond delay="0"/>
                            </p:stCondLst>
                            <p:childTnLst>
                              <p:par>
                                <p:cTn id="54" presetID="16" presetClass="entr" presetSubtype="21" fill="hold" grpId="0" nodeType="clickEffect">
                                  <p:stCondLst>
                                    <p:cond delay="0"/>
                                  </p:stCondLst>
                                  <p:childTnLst>
                                    <p:set>
                                      <p:cBhvr>
                                        <p:cTn id="55" dur="1" fill="hold">
                                          <p:stCondLst>
                                            <p:cond delay="0"/>
                                          </p:stCondLst>
                                        </p:cTn>
                                        <p:tgtEl>
                                          <p:spTgt spid="3"/>
                                        </p:tgtEl>
                                        <p:attrNameLst>
                                          <p:attrName>style.visibility</p:attrName>
                                        </p:attrNameLst>
                                      </p:cBhvr>
                                      <p:to>
                                        <p:strVal val="visible"/>
                                      </p:to>
                                    </p:set>
                                    <p:animEffect transition="in" filter="barn(inVertical)">
                                      <p:cBhvr>
                                        <p:cTn id="5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2" grpId="0"/>
      <p:bldP spid="13" grpId="0"/>
      <p:bldP spid="24" grpId="0"/>
      <p:bldP spid="28" grpId="0"/>
      <p:bldP spid="3"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FFD352"/>
        </a:solidFill>
        <a:effectLst/>
      </p:bgPr>
    </p:bg>
    <p:spTree>
      <p:nvGrpSpPr>
        <p:cNvPr id="1" name=""/>
        <p:cNvGrpSpPr/>
        <p:nvPr/>
      </p:nvGrpSpPr>
      <p:grpSpPr>
        <a:xfrm>
          <a:off x="0" y="0"/>
          <a:ext cx="0" cy="0"/>
          <a:chOff x="0" y="0"/>
          <a:chExt cx="0" cy="0"/>
        </a:xfrm>
      </p:grpSpPr>
      <p:grpSp>
        <p:nvGrpSpPr>
          <p:cNvPr id="2" name="Group 2"/>
          <p:cNvGrpSpPr/>
          <p:nvPr/>
        </p:nvGrpSpPr>
        <p:grpSpPr>
          <a:xfrm>
            <a:off x="2209799" y="2826186"/>
            <a:ext cx="7315201" cy="1473093"/>
            <a:chOff x="0" y="-4262"/>
            <a:chExt cx="7667903" cy="1067168"/>
          </a:xfrm>
        </p:grpSpPr>
        <p:sp>
          <p:nvSpPr>
            <p:cNvPr id="3" name="Freeform 3"/>
            <p:cNvSpPr/>
            <p:nvPr/>
          </p:nvSpPr>
          <p:spPr>
            <a:xfrm>
              <a:off x="0" y="-4262"/>
              <a:ext cx="7667903" cy="1067168"/>
            </a:xfrm>
            <a:custGeom>
              <a:avLst/>
              <a:gdLst/>
              <a:ahLst/>
              <a:cxnLst/>
              <a:rect l="l" t="t" r="r" b="b"/>
              <a:pathLst>
                <a:path w="7667903" h="1067168">
                  <a:moveTo>
                    <a:pt x="6729003" y="1055981"/>
                  </a:moveTo>
                  <a:cubicBezTo>
                    <a:pt x="6729003" y="1055981"/>
                    <a:pt x="6309251" y="1067168"/>
                    <a:pt x="5846666" y="1064547"/>
                  </a:cubicBezTo>
                  <a:cubicBezTo>
                    <a:pt x="2722712" y="1062384"/>
                    <a:pt x="1057073" y="1054560"/>
                    <a:pt x="1057073" y="1054560"/>
                  </a:cubicBezTo>
                  <a:cubicBezTo>
                    <a:pt x="812931" y="1045725"/>
                    <a:pt x="565145" y="1028744"/>
                    <a:pt x="398404" y="970567"/>
                  </a:cubicBezTo>
                  <a:cubicBezTo>
                    <a:pt x="120505" y="873605"/>
                    <a:pt x="0" y="696077"/>
                    <a:pt x="0" y="555062"/>
                  </a:cubicBezTo>
                  <a:lnTo>
                    <a:pt x="0" y="555061"/>
                  </a:lnTo>
                  <a:cubicBezTo>
                    <a:pt x="8536" y="440430"/>
                    <a:pt x="34263" y="311302"/>
                    <a:pt x="140291" y="225758"/>
                  </a:cubicBezTo>
                  <a:cubicBezTo>
                    <a:pt x="342602" y="62530"/>
                    <a:pt x="736658" y="7673"/>
                    <a:pt x="1155311" y="7673"/>
                  </a:cubicBezTo>
                  <a:cubicBezTo>
                    <a:pt x="1155311" y="7673"/>
                    <a:pt x="1551711" y="15681"/>
                    <a:pt x="4880807" y="7673"/>
                  </a:cubicBezTo>
                  <a:cubicBezTo>
                    <a:pt x="6090324" y="0"/>
                    <a:pt x="6554251" y="7673"/>
                    <a:pt x="6554251" y="7673"/>
                  </a:cubicBezTo>
                  <a:cubicBezTo>
                    <a:pt x="6922559" y="15152"/>
                    <a:pt x="7285872" y="84484"/>
                    <a:pt x="7483612" y="207066"/>
                  </a:cubicBezTo>
                  <a:cubicBezTo>
                    <a:pt x="7634629" y="300683"/>
                    <a:pt x="7667903" y="425358"/>
                    <a:pt x="7658763" y="555062"/>
                  </a:cubicBezTo>
                  <a:lnTo>
                    <a:pt x="7658763" y="555062"/>
                  </a:lnTo>
                  <a:cubicBezTo>
                    <a:pt x="7658763" y="814042"/>
                    <a:pt x="7375766" y="1028140"/>
                    <a:pt x="6729003" y="1055981"/>
                  </a:cubicBezTo>
                  <a:close/>
                </a:path>
              </a:pathLst>
            </a:custGeom>
            <a:solidFill>
              <a:srgbClr val="F8F8F8"/>
            </a:solidFill>
          </p:spPr>
        </p:sp>
      </p:grpSp>
      <p:sp>
        <p:nvSpPr>
          <p:cNvPr id="18" name="Rectangle 17"/>
          <p:cNvSpPr/>
          <p:nvPr/>
        </p:nvSpPr>
        <p:spPr>
          <a:xfrm>
            <a:off x="2373947" y="3096925"/>
            <a:ext cx="6998653" cy="925894"/>
          </a:xfrm>
          <a:prstGeom prst="rect">
            <a:avLst/>
          </a:prstGeom>
        </p:spPr>
        <p:txBody>
          <a:bodyPr wrap="square">
            <a:spAutoFit/>
          </a:bodyPr>
          <a:lstStyle/>
          <a:p>
            <a:pPr algn="ctr">
              <a:lnSpc>
                <a:spcPts val="6500"/>
              </a:lnSpc>
            </a:pPr>
            <a:r>
              <a:rPr lang="fr-FR" sz="5000" dirty="0" smtClean="0">
                <a:solidFill>
                  <a:srgbClr val="000000"/>
                </a:solidFill>
                <a:latin typeface="Arial" panose="020B0604020202020204" pitchFamily="34" charset="0"/>
                <a:ea typeface="Calibri" panose="020F0502020204030204" charset="0"/>
                <a:cs typeface="Arial" panose="020B0604020202020204" pitchFamily="34" charset="0"/>
              </a:rPr>
              <a:t>A. Hùng Vương</a:t>
            </a:r>
            <a:endParaRPr lang="en-US" sz="5000" dirty="0">
              <a:latin typeface="Arial" panose="020B0604020202020204" pitchFamily="34" charset="0"/>
              <a:cs typeface="Arial" panose="020B0604020202020204" pitchFamily="34" charset="0"/>
            </a:endParaRPr>
          </a:p>
        </p:txBody>
      </p:sp>
      <p:grpSp>
        <p:nvGrpSpPr>
          <p:cNvPr id="19" name="Group 2"/>
          <p:cNvGrpSpPr/>
          <p:nvPr/>
        </p:nvGrpSpPr>
        <p:grpSpPr>
          <a:xfrm>
            <a:off x="2373947" y="4615526"/>
            <a:ext cx="7193873" cy="1468891"/>
            <a:chOff x="0" y="0"/>
            <a:chExt cx="7660157" cy="1060682"/>
          </a:xfrm>
        </p:grpSpPr>
        <p:sp>
          <p:nvSpPr>
            <p:cNvPr id="20" name="Freeform 3"/>
            <p:cNvSpPr/>
            <p:nvPr/>
          </p:nvSpPr>
          <p:spPr>
            <a:xfrm>
              <a:off x="0" y="-4262"/>
              <a:ext cx="7667903" cy="1067168"/>
            </a:xfrm>
            <a:custGeom>
              <a:avLst/>
              <a:gdLst/>
              <a:ahLst/>
              <a:cxnLst/>
              <a:rect l="l" t="t" r="r" b="b"/>
              <a:pathLst>
                <a:path w="7667903" h="1067168">
                  <a:moveTo>
                    <a:pt x="6729003" y="1055981"/>
                  </a:moveTo>
                  <a:cubicBezTo>
                    <a:pt x="6729003" y="1055981"/>
                    <a:pt x="6309251" y="1067168"/>
                    <a:pt x="5846666" y="1064547"/>
                  </a:cubicBezTo>
                  <a:cubicBezTo>
                    <a:pt x="2722712" y="1062384"/>
                    <a:pt x="1057073" y="1054560"/>
                    <a:pt x="1057073" y="1054560"/>
                  </a:cubicBezTo>
                  <a:cubicBezTo>
                    <a:pt x="812931" y="1045725"/>
                    <a:pt x="565145" y="1028744"/>
                    <a:pt x="398404" y="970567"/>
                  </a:cubicBezTo>
                  <a:cubicBezTo>
                    <a:pt x="120505" y="873605"/>
                    <a:pt x="0" y="696077"/>
                    <a:pt x="0" y="555062"/>
                  </a:cubicBezTo>
                  <a:lnTo>
                    <a:pt x="0" y="555061"/>
                  </a:lnTo>
                  <a:cubicBezTo>
                    <a:pt x="8536" y="440430"/>
                    <a:pt x="34263" y="311302"/>
                    <a:pt x="140291" y="225758"/>
                  </a:cubicBezTo>
                  <a:cubicBezTo>
                    <a:pt x="342602" y="62530"/>
                    <a:pt x="736658" y="7673"/>
                    <a:pt x="1155311" y="7673"/>
                  </a:cubicBezTo>
                  <a:cubicBezTo>
                    <a:pt x="1155311" y="7673"/>
                    <a:pt x="1551711" y="15681"/>
                    <a:pt x="4880807" y="7673"/>
                  </a:cubicBezTo>
                  <a:cubicBezTo>
                    <a:pt x="6090324" y="0"/>
                    <a:pt x="6554251" y="7673"/>
                    <a:pt x="6554251" y="7673"/>
                  </a:cubicBezTo>
                  <a:cubicBezTo>
                    <a:pt x="6922559" y="15152"/>
                    <a:pt x="7285872" y="84484"/>
                    <a:pt x="7483612" y="207066"/>
                  </a:cubicBezTo>
                  <a:cubicBezTo>
                    <a:pt x="7634629" y="300683"/>
                    <a:pt x="7667903" y="425358"/>
                    <a:pt x="7658763" y="555062"/>
                  </a:cubicBezTo>
                  <a:lnTo>
                    <a:pt x="7658763" y="555062"/>
                  </a:lnTo>
                  <a:cubicBezTo>
                    <a:pt x="7658763" y="814042"/>
                    <a:pt x="7375766" y="1028140"/>
                    <a:pt x="6729003" y="1055981"/>
                  </a:cubicBezTo>
                  <a:close/>
                </a:path>
              </a:pathLst>
            </a:custGeom>
            <a:solidFill>
              <a:srgbClr val="F8F8F8"/>
            </a:solidFill>
          </p:spPr>
        </p:sp>
      </p:grpSp>
      <p:sp>
        <p:nvSpPr>
          <p:cNvPr id="15" name="TextBox 9"/>
          <p:cNvSpPr txBox="1"/>
          <p:nvPr/>
        </p:nvSpPr>
        <p:spPr>
          <a:xfrm>
            <a:off x="2514599" y="4987227"/>
            <a:ext cx="6858001" cy="872034"/>
          </a:xfrm>
          <a:prstGeom prst="rect">
            <a:avLst/>
          </a:prstGeom>
        </p:spPr>
        <p:txBody>
          <a:bodyPr wrap="square" lIns="0" tIns="0" rIns="0" bIns="0" rtlCol="0" anchor="t">
            <a:spAutoFit/>
          </a:bodyPr>
          <a:lstStyle/>
          <a:p>
            <a:pPr algn="ctr">
              <a:lnSpc>
                <a:spcPts val="6800"/>
              </a:lnSpc>
            </a:pPr>
            <a:r>
              <a:rPr lang="en-US" sz="5000" dirty="0" smtClean="0">
                <a:solidFill>
                  <a:srgbClr val="000000"/>
                </a:solidFill>
                <a:latin typeface="Arial" panose="020B0604020202020204" pitchFamily="34" charset="0"/>
                <a:cs typeface="Arial" panose="020B0604020202020204" pitchFamily="34" charset="0"/>
              </a:rPr>
              <a:t>B. Bà Triệu</a:t>
            </a:r>
            <a:endParaRPr lang="en-US" sz="5000" dirty="0">
              <a:solidFill>
                <a:srgbClr val="000000"/>
              </a:solidFill>
              <a:latin typeface="Arial" panose="020B0604020202020204" pitchFamily="34" charset="0"/>
              <a:cs typeface="Arial" panose="020B0604020202020204" pitchFamily="34" charset="0"/>
            </a:endParaRPr>
          </a:p>
        </p:txBody>
      </p:sp>
      <p:grpSp>
        <p:nvGrpSpPr>
          <p:cNvPr id="17" name="Group 2"/>
          <p:cNvGrpSpPr/>
          <p:nvPr/>
        </p:nvGrpSpPr>
        <p:grpSpPr>
          <a:xfrm>
            <a:off x="2384926" y="6465100"/>
            <a:ext cx="7193873" cy="1468891"/>
            <a:chOff x="0" y="0"/>
            <a:chExt cx="7660157" cy="1060682"/>
          </a:xfrm>
        </p:grpSpPr>
        <p:sp>
          <p:nvSpPr>
            <p:cNvPr id="25" name="Freeform 3"/>
            <p:cNvSpPr/>
            <p:nvPr/>
          </p:nvSpPr>
          <p:spPr>
            <a:xfrm>
              <a:off x="0" y="-4262"/>
              <a:ext cx="7667903" cy="1067168"/>
            </a:xfrm>
            <a:custGeom>
              <a:avLst/>
              <a:gdLst/>
              <a:ahLst/>
              <a:cxnLst/>
              <a:rect l="l" t="t" r="r" b="b"/>
              <a:pathLst>
                <a:path w="7667903" h="1067168">
                  <a:moveTo>
                    <a:pt x="6729003" y="1055981"/>
                  </a:moveTo>
                  <a:cubicBezTo>
                    <a:pt x="6729003" y="1055981"/>
                    <a:pt x="6309251" y="1067168"/>
                    <a:pt x="5846666" y="1064547"/>
                  </a:cubicBezTo>
                  <a:cubicBezTo>
                    <a:pt x="2722712" y="1062384"/>
                    <a:pt x="1057073" y="1054560"/>
                    <a:pt x="1057073" y="1054560"/>
                  </a:cubicBezTo>
                  <a:cubicBezTo>
                    <a:pt x="812931" y="1045725"/>
                    <a:pt x="565145" y="1028744"/>
                    <a:pt x="398404" y="970567"/>
                  </a:cubicBezTo>
                  <a:cubicBezTo>
                    <a:pt x="120505" y="873605"/>
                    <a:pt x="0" y="696077"/>
                    <a:pt x="0" y="555062"/>
                  </a:cubicBezTo>
                  <a:lnTo>
                    <a:pt x="0" y="555061"/>
                  </a:lnTo>
                  <a:cubicBezTo>
                    <a:pt x="8536" y="440430"/>
                    <a:pt x="34263" y="311302"/>
                    <a:pt x="140291" y="225758"/>
                  </a:cubicBezTo>
                  <a:cubicBezTo>
                    <a:pt x="342602" y="62530"/>
                    <a:pt x="736658" y="7673"/>
                    <a:pt x="1155311" y="7673"/>
                  </a:cubicBezTo>
                  <a:cubicBezTo>
                    <a:pt x="1155311" y="7673"/>
                    <a:pt x="1551711" y="15681"/>
                    <a:pt x="4880807" y="7673"/>
                  </a:cubicBezTo>
                  <a:cubicBezTo>
                    <a:pt x="6090324" y="0"/>
                    <a:pt x="6554251" y="7673"/>
                    <a:pt x="6554251" y="7673"/>
                  </a:cubicBezTo>
                  <a:cubicBezTo>
                    <a:pt x="6922559" y="15152"/>
                    <a:pt x="7285872" y="84484"/>
                    <a:pt x="7483612" y="207066"/>
                  </a:cubicBezTo>
                  <a:cubicBezTo>
                    <a:pt x="7634629" y="300683"/>
                    <a:pt x="7667903" y="425358"/>
                    <a:pt x="7658763" y="555062"/>
                  </a:cubicBezTo>
                  <a:lnTo>
                    <a:pt x="7658763" y="555062"/>
                  </a:lnTo>
                  <a:cubicBezTo>
                    <a:pt x="7658763" y="814042"/>
                    <a:pt x="7375766" y="1028140"/>
                    <a:pt x="6729003" y="1055981"/>
                  </a:cubicBezTo>
                  <a:close/>
                </a:path>
              </a:pathLst>
            </a:custGeom>
            <a:solidFill>
              <a:srgbClr val="F8F8F8"/>
            </a:solidFill>
          </p:spPr>
        </p:sp>
      </p:grpSp>
      <p:sp>
        <p:nvSpPr>
          <p:cNvPr id="27" name="TextBox 9"/>
          <p:cNvSpPr txBox="1"/>
          <p:nvPr/>
        </p:nvSpPr>
        <p:spPr>
          <a:xfrm>
            <a:off x="2373947" y="6767105"/>
            <a:ext cx="7201147" cy="872034"/>
          </a:xfrm>
          <a:prstGeom prst="rect">
            <a:avLst/>
          </a:prstGeom>
        </p:spPr>
        <p:txBody>
          <a:bodyPr wrap="square" lIns="0" tIns="0" rIns="0" bIns="0" rtlCol="0" anchor="t">
            <a:spAutoFit/>
          </a:bodyPr>
          <a:lstStyle/>
          <a:p>
            <a:pPr algn="ctr">
              <a:lnSpc>
                <a:spcPts val="6800"/>
              </a:lnSpc>
            </a:pPr>
            <a:r>
              <a:rPr lang="en-US" sz="5000" dirty="0" smtClean="0">
                <a:solidFill>
                  <a:srgbClr val="000000"/>
                </a:solidFill>
                <a:latin typeface="Arial" panose="020B0604020202020204" pitchFamily="34" charset="0"/>
                <a:cs typeface="Arial" panose="020B0604020202020204" pitchFamily="34" charset="0"/>
              </a:rPr>
              <a:t>C. Thục Phán</a:t>
            </a:r>
            <a:endParaRPr lang="en-US" sz="5000" dirty="0">
              <a:solidFill>
                <a:srgbClr val="000000"/>
              </a:solidFill>
              <a:latin typeface="Arial" panose="020B0604020202020204" pitchFamily="34" charset="0"/>
              <a:cs typeface="Arial" panose="020B0604020202020204" pitchFamily="34" charset="0"/>
            </a:endParaRPr>
          </a:p>
        </p:txBody>
      </p:sp>
      <p:grpSp>
        <p:nvGrpSpPr>
          <p:cNvPr id="29" name="Group 2"/>
          <p:cNvGrpSpPr/>
          <p:nvPr/>
        </p:nvGrpSpPr>
        <p:grpSpPr>
          <a:xfrm>
            <a:off x="2395905" y="8150200"/>
            <a:ext cx="7193873" cy="1468891"/>
            <a:chOff x="0" y="0"/>
            <a:chExt cx="7660157" cy="1060682"/>
          </a:xfrm>
        </p:grpSpPr>
        <p:sp>
          <p:nvSpPr>
            <p:cNvPr id="30" name="Freeform 3"/>
            <p:cNvSpPr/>
            <p:nvPr/>
          </p:nvSpPr>
          <p:spPr>
            <a:xfrm>
              <a:off x="0" y="-4262"/>
              <a:ext cx="7667903" cy="1067168"/>
            </a:xfrm>
            <a:custGeom>
              <a:avLst/>
              <a:gdLst/>
              <a:ahLst/>
              <a:cxnLst/>
              <a:rect l="l" t="t" r="r" b="b"/>
              <a:pathLst>
                <a:path w="7667903" h="1067168">
                  <a:moveTo>
                    <a:pt x="6729003" y="1055981"/>
                  </a:moveTo>
                  <a:cubicBezTo>
                    <a:pt x="6729003" y="1055981"/>
                    <a:pt x="6309251" y="1067168"/>
                    <a:pt x="5846666" y="1064547"/>
                  </a:cubicBezTo>
                  <a:cubicBezTo>
                    <a:pt x="2722712" y="1062384"/>
                    <a:pt x="1057073" y="1054560"/>
                    <a:pt x="1057073" y="1054560"/>
                  </a:cubicBezTo>
                  <a:cubicBezTo>
                    <a:pt x="812931" y="1045725"/>
                    <a:pt x="565145" y="1028744"/>
                    <a:pt x="398404" y="970567"/>
                  </a:cubicBezTo>
                  <a:cubicBezTo>
                    <a:pt x="120505" y="873605"/>
                    <a:pt x="0" y="696077"/>
                    <a:pt x="0" y="555062"/>
                  </a:cubicBezTo>
                  <a:lnTo>
                    <a:pt x="0" y="555061"/>
                  </a:lnTo>
                  <a:cubicBezTo>
                    <a:pt x="8536" y="440430"/>
                    <a:pt x="34263" y="311302"/>
                    <a:pt x="140291" y="225758"/>
                  </a:cubicBezTo>
                  <a:cubicBezTo>
                    <a:pt x="342602" y="62530"/>
                    <a:pt x="736658" y="7673"/>
                    <a:pt x="1155311" y="7673"/>
                  </a:cubicBezTo>
                  <a:cubicBezTo>
                    <a:pt x="1155311" y="7673"/>
                    <a:pt x="1551711" y="15681"/>
                    <a:pt x="4880807" y="7673"/>
                  </a:cubicBezTo>
                  <a:cubicBezTo>
                    <a:pt x="6090324" y="0"/>
                    <a:pt x="6554251" y="7673"/>
                    <a:pt x="6554251" y="7673"/>
                  </a:cubicBezTo>
                  <a:cubicBezTo>
                    <a:pt x="6922559" y="15152"/>
                    <a:pt x="7285872" y="84484"/>
                    <a:pt x="7483612" y="207066"/>
                  </a:cubicBezTo>
                  <a:cubicBezTo>
                    <a:pt x="7634629" y="300683"/>
                    <a:pt x="7667903" y="425358"/>
                    <a:pt x="7658763" y="555062"/>
                  </a:cubicBezTo>
                  <a:lnTo>
                    <a:pt x="7658763" y="555062"/>
                  </a:lnTo>
                  <a:cubicBezTo>
                    <a:pt x="7658763" y="814042"/>
                    <a:pt x="7375766" y="1028140"/>
                    <a:pt x="6729003" y="1055981"/>
                  </a:cubicBezTo>
                  <a:close/>
                </a:path>
              </a:pathLst>
            </a:custGeom>
            <a:solidFill>
              <a:srgbClr val="F8F8F8"/>
            </a:solidFill>
          </p:spPr>
        </p:sp>
      </p:grpSp>
      <p:sp>
        <p:nvSpPr>
          <p:cNvPr id="32" name="TextBox 9"/>
          <p:cNvSpPr txBox="1"/>
          <p:nvPr/>
        </p:nvSpPr>
        <p:spPr>
          <a:xfrm>
            <a:off x="2514599" y="8490587"/>
            <a:ext cx="7010401" cy="872034"/>
          </a:xfrm>
          <a:prstGeom prst="rect">
            <a:avLst/>
          </a:prstGeom>
        </p:spPr>
        <p:txBody>
          <a:bodyPr wrap="square" lIns="0" tIns="0" rIns="0" bIns="0" rtlCol="0" anchor="t">
            <a:spAutoFit/>
          </a:bodyPr>
          <a:lstStyle/>
          <a:p>
            <a:pPr algn="ctr">
              <a:lnSpc>
                <a:spcPts val="6800"/>
              </a:lnSpc>
            </a:pPr>
            <a:r>
              <a:rPr lang="en-US" sz="5000" dirty="0" smtClean="0">
                <a:solidFill>
                  <a:srgbClr val="000000"/>
                </a:solidFill>
                <a:latin typeface="Arial" panose="020B0604020202020204" pitchFamily="34" charset="0"/>
                <a:cs typeface="Arial" panose="020B0604020202020204" pitchFamily="34" charset="0"/>
              </a:rPr>
              <a:t>D. Hai Bà Trưng</a:t>
            </a:r>
            <a:endParaRPr lang="en-US" sz="5000" dirty="0">
              <a:solidFill>
                <a:srgbClr val="000000"/>
              </a:solidFill>
              <a:latin typeface="Arial" panose="020B0604020202020204" pitchFamily="34" charset="0"/>
              <a:cs typeface="Arial" panose="020B0604020202020204" pitchFamily="34" charset="0"/>
            </a:endParaRPr>
          </a:p>
        </p:txBody>
      </p:sp>
      <p:sp>
        <p:nvSpPr>
          <p:cNvPr id="4" name="Oval 3"/>
          <p:cNvSpPr/>
          <p:nvPr/>
        </p:nvSpPr>
        <p:spPr>
          <a:xfrm>
            <a:off x="3810000" y="6720795"/>
            <a:ext cx="798765" cy="88567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0"/>
          <p:cNvSpPr txBox="1"/>
          <p:nvPr/>
        </p:nvSpPr>
        <p:spPr>
          <a:xfrm>
            <a:off x="90895" y="785420"/>
            <a:ext cx="18288000" cy="1744067"/>
          </a:xfrm>
          <a:prstGeom prst="rect">
            <a:avLst/>
          </a:prstGeom>
        </p:spPr>
        <p:txBody>
          <a:bodyPr wrap="square" lIns="0" tIns="0" rIns="0" bIns="0" rtlCol="0" anchor="t">
            <a:spAutoFit/>
          </a:bodyPr>
          <a:lstStyle/>
          <a:p>
            <a:pPr algn="ctr">
              <a:lnSpc>
                <a:spcPts val="6800"/>
              </a:lnSpc>
            </a:pPr>
            <a:r>
              <a:rPr lang="en-US" sz="5000" dirty="0" smtClean="0">
                <a:solidFill>
                  <a:srgbClr val="002060"/>
                </a:solidFill>
                <a:latin typeface="Arial" panose="020B0604020202020204" pitchFamily="34" charset="0"/>
                <a:cs typeface="Arial" panose="020B0604020202020204" pitchFamily="34" charset="0"/>
              </a:rPr>
              <a:t>Ai là người lãnh đạo người Âu Việt và Lạc Việt </a:t>
            </a:r>
            <a:endParaRPr lang="en-US" sz="5000" dirty="0" smtClean="0">
              <a:solidFill>
                <a:srgbClr val="002060"/>
              </a:solidFill>
              <a:latin typeface="Arial" panose="020B0604020202020204" pitchFamily="34" charset="0"/>
              <a:cs typeface="Arial" panose="020B0604020202020204" pitchFamily="34" charset="0"/>
            </a:endParaRPr>
          </a:p>
          <a:p>
            <a:pPr algn="ctr">
              <a:lnSpc>
                <a:spcPts val="6800"/>
              </a:lnSpc>
            </a:pPr>
            <a:r>
              <a:rPr lang="en-US" sz="5000" dirty="0" smtClean="0">
                <a:solidFill>
                  <a:srgbClr val="002060"/>
                </a:solidFill>
                <a:latin typeface="Arial" panose="020B0604020202020204" pitchFamily="34" charset="0"/>
                <a:cs typeface="Arial" panose="020B0604020202020204" pitchFamily="34" charset="0"/>
              </a:rPr>
              <a:t>đánh bại quân Tần, lập ra nhà nước Âu Lạc</a:t>
            </a:r>
            <a:endParaRPr lang="en-US" sz="5000" dirty="0">
              <a:solidFill>
                <a:srgbClr val="002060"/>
              </a:solidFill>
              <a:latin typeface="Arial" panose="020B0604020202020204" pitchFamily="34" charset="0"/>
              <a:cs typeface="Arial" panose="020B0604020202020204" pitchFamily="34" charset="0"/>
            </a:endParaRPr>
          </a:p>
        </p:txBody>
      </p:sp>
      <p:pic>
        <p:nvPicPr>
          <p:cNvPr id="33" name="Picture 21"/>
          <p:cNvPicPr>
            <a:picLocks noChangeAspect="1"/>
          </p:cNvPicPr>
          <p:nvPr/>
        </p:nvPicPr>
        <p:blipFill>
          <a:blip/>
          <a:srcRect/>
          <a:stretch>
            <a:fillRect/>
          </a:stretch>
        </p:blipFill>
        <p:spPr>
          <a:xfrm>
            <a:off x="10287000" y="4854492"/>
            <a:ext cx="5382413" cy="5503959"/>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barn(inVertical)">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barn(inVertical)">
                                      <p:cBhvr>
                                        <p:cTn id="12" dur="500"/>
                                        <p:tgtEl>
                                          <p:spTgt spid="18"/>
                                        </p:tgtEl>
                                      </p:cBhvr>
                                    </p:animEffect>
                                  </p:childTnLst>
                                </p:cTn>
                              </p:par>
                              <p:par>
                                <p:cTn id="13" presetID="16" presetClass="entr" presetSubtype="21" fill="hold" nodeType="with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barn(inVertical)">
                                      <p:cBhvr>
                                        <p:cTn id="15" dur="500"/>
                                        <p:tgtEl>
                                          <p:spTgt spid="2"/>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barn(inVertical)">
                                      <p:cBhvr>
                                        <p:cTn id="18" dur="500"/>
                                        <p:tgtEl>
                                          <p:spTgt spid="15"/>
                                        </p:tgtEl>
                                      </p:cBhvr>
                                    </p:animEffect>
                                  </p:childTnLst>
                                </p:cTn>
                              </p:par>
                              <p:par>
                                <p:cTn id="19" presetID="16" presetClass="entr" presetSubtype="21"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barn(inVertical)">
                                      <p:cBhvr>
                                        <p:cTn id="21" dur="500"/>
                                        <p:tgtEl>
                                          <p:spTgt spid="19"/>
                                        </p:tgtEl>
                                      </p:cBhvr>
                                    </p:animEffect>
                                  </p:childTnLst>
                                </p:cTn>
                              </p:par>
                              <p:par>
                                <p:cTn id="22" presetID="16" presetClass="entr" presetSubtype="21" fill="hold" grpId="0" nodeType="with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barn(inVertical)">
                                      <p:cBhvr>
                                        <p:cTn id="24" dur="500"/>
                                        <p:tgtEl>
                                          <p:spTgt spid="27"/>
                                        </p:tgtEl>
                                      </p:cBhvr>
                                    </p:animEffect>
                                  </p:childTnLst>
                                </p:cTn>
                              </p:par>
                              <p:par>
                                <p:cTn id="25" presetID="16" presetClass="entr" presetSubtype="21" fill="hold" nodeType="with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barn(inVertical)">
                                      <p:cBhvr>
                                        <p:cTn id="27" dur="500"/>
                                        <p:tgtEl>
                                          <p:spTgt spid="17"/>
                                        </p:tgtEl>
                                      </p:cBhvr>
                                    </p:animEffect>
                                  </p:childTnLst>
                                </p:cTn>
                              </p:par>
                              <p:par>
                                <p:cTn id="28" presetID="16" presetClass="entr" presetSubtype="21" fill="hold" grpId="0" nodeType="withEffect">
                                  <p:stCondLst>
                                    <p:cond delay="0"/>
                                  </p:stCondLst>
                                  <p:childTnLst>
                                    <p:set>
                                      <p:cBhvr>
                                        <p:cTn id="29" dur="1" fill="hold">
                                          <p:stCondLst>
                                            <p:cond delay="0"/>
                                          </p:stCondLst>
                                        </p:cTn>
                                        <p:tgtEl>
                                          <p:spTgt spid="32"/>
                                        </p:tgtEl>
                                        <p:attrNameLst>
                                          <p:attrName>style.visibility</p:attrName>
                                        </p:attrNameLst>
                                      </p:cBhvr>
                                      <p:to>
                                        <p:strVal val="visible"/>
                                      </p:to>
                                    </p:set>
                                    <p:animEffect transition="in" filter="barn(inVertical)">
                                      <p:cBhvr>
                                        <p:cTn id="30" dur="500"/>
                                        <p:tgtEl>
                                          <p:spTgt spid="32"/>
                                        </p:tgtEl>
                                      </p:cBhvr>
                                    </p:animEffect>
                                  </p:childTnLst>
                                </p:cTn>
                              </p:par>
                              <p:par>
                                <p:cTn id="31" presetID="16" presetClass="entr" presetSubtype="21" fill="hold" nodeType="withEffect">
                                  <p:stCondLst>
                                    <p:cond delay="0"/>
                                  </p:stCondLst>
                                  <p:childTnLst>
                                    <p:set>
                                      <p:cBhvr>
                                        <p:cTn id="32" dur="1" fill="hold">
                                          <p:stCondLst>
                                            <p:cond delay="0"/>
                                          </p:stCondLst>
                                        </p:cTn>
                                        <p:tgtEl>
                                          <p:spTgt spid="29"/>
                                        </p:tgtEl>
                                        <p:attrNameLst>
                                          <p:attrName>style.visibility</p:attrName>
                                        </p:attrNameLst>
                                      </p:cBhvr>
                                      <p:to>
                                        <p:strVal val="visible"/>
                                      </p:to>
                                    </p:set>
                                    <p:animEffect transition="in" filter="barn(inVertical)">
                                      <p:cBhvr>
                                        <p:cTn id="33" dur="500"/>
                                        <p:tgtEl>
                                          <p:spTgt spid="29"/>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grpId="0" nodeType="click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wipe(down)">
                                      <p:cBhvr>
                                        <p:cTn id="3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5" grpId="0"/>
      <p:bldP spid="27" grpId="0"/>
      <p:bldP spid="32" grpId="0"/>
      <p:bldP spid="4" grpId="0" animBg="1"/>
      <p:bldP spid="26" grpId="0"/>
    </p:bld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FAF1D9"/>
        </a:solidFill>
        <a:effectLst/>
      </p:bgPr>
    </p:bg>
    <p:spTree>
      <p:nvGrpSpPr>
        <p:cNvPr id="1" name=""/>
        <p:cNvGrpSpPr/>
        <p:nvPr/>
      </p:nvGrpSpPr>
      <p:grpSpPr>
        <a:xfrm>
          <a:off x="0" y="0"/>
          <a:ext cx="0" cy="0"/>
          <a:chOff x="0" y="0"/>
          <a:chExt cx="0" cy="0"/>
        </a:xfrm>
      </p:grpSpPr>
      <p:sp>
        <p:nvSpPr>
          <p:cNvPr id="2" name="AutoShape 2"/>
          <p:cNvSpPr/>
          <p:nvPr/>
        </p:nvSpPr>
        <p:spPr>
          <a:xfrm>
            <a:off x="0" y="0"/>
            <a:ext cx="18288000" cy="2688612"/>
          </a:xfrm>
          <a:prstGeom prst="rect">
            <a:avLst/>
          </a:prstGeom>
          <a:solidFill>
            <a:srgbClr val="F3AF05"/>
          </a:solidFill>
        </p:spPr>
      </p:sp>
      <p:sp>
        <p:nvSpPr>
          <p:cNvPr id="35" name="TextBox 13"/>
          <p:cNvSpPr txBox="1"/>
          <p:nvPr/>
        </p:nvSpPr>
        <p:spPr>
          <a:xfrm>
            <a:off x="609600" y="990314"/>
            <a:ext cx="17068799" cy="743793"/>
          </a:xfrm>
          <a:prstGeom prst="rect">
            <a:avLst/>
          </a:prstGeom>
        </p:spPr>
        <p:txBody>
          <a:bodyPr wrap="square" lIns="0" tIns="0" rIns="0" bIns="0" rtlCol="0" anchor="t">
            <a:spAutoFit/>
          </a:bodyPr>
          <a:lstStyle/>
          <a:p>
            <a:pPr algn="ctr">
              <a:lnSpc>
                <a:spcPts val="5780"/>
              </a:lnSpc>
            </a:pPr>
            <a:r>
              <a:rPr lang="en-US" sz="5000" b="1" dirty="0" smtClean="0">
                <a:solidFill>
                  <a:schemeClr val="tx1">
                    <a:lumMod val="95000"/>
                    <a:lumOff val="5000"/>
                  </a:schemeClr>
                </a:solidFill>
                <a:latin typeface="Arial" panose="020B0604020202020204" pitchFamily="34" charset="0"/>
                <a:cs typeface="Arial" panose="020B0604020202020204" pitchFamily="34" charset="0"/>
              </a:rPr>
              <a:t>Nối ý ở cột trái với ý ở cột phải sao cho phù hợp</a:t>
            </a:r>
            <a:endParaRPr lang="en-US" sz="5000" b="1" dirty="0">
              <a:solidFill>
                <a:schemeClr val="tx1">
                  <a:lumMod val="95000"/>
                  <a:lumOff val="5000"/>
                </a:schemeClr>
              </a:solidFill>
              <a:latin typeface="Arial" panose="020B0604020202020204" pitchFamily="34" charset="0"/>
              <a:cs typeface="Arial" panose="020B0604020202020204" pitchFamily="34" charset="0"/>
            </a:endParaRPr>
          </a:p>
        </p:txBody>
      </p:sp>
      <p:sp>
        <p:nvSpPr>
          <p:cNvPr id="36" name="Rounded Rectangle 35"/>
          <p:cNvSpPr/>
          <p:nvPr/>
        </p:nvSpPr>
        <p:spPr>
          <a:xfrm>
            <a:off x="935391" y="4268006"/>
            <a:ext cx="5334000" cy="1828800"/>
          </a:xfrm>
          <a:prstGeom prst="roundRect">
            <a:avLst/>
          </a:prstGeom>
          <a:solidFill>
            <a:schemeClr val="accent3">
              <a:lumMod val="60000"/>
              <a:lumOff val="4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0" dirty="0" smtClean="0">
                <a:solidFill>
                  <a:schemeClr val="tx1">
                    <a:lumMod val="95000"/>
                    <a:lumOff val="5000"/>
                  </a:schemeClr>
                </a:solidFill>
                <a:latin typeface="Arial" panose="020B0604020202020204" pitchFamily="34" charset="0"/>
                <a:cs typeface="Arial" panose="020B0604020202020204" pitchFamily="34" charset="0"/>
              </a:rPr>
              <a:t>Thời Văn Lang</a:t>
            </a:r>
            <a:endParaRPr lang="en-US" sz="5000" dirty="0">
              <a:solidFill>
                <a:schemeClr val="tx1">
                  <a:lumMod val="95000"/>
                  <a:lumOff val="5000"/>
                </a:schemeClr>
              </a:solidFill>
            </a:endParaRPr>
          </a:p>
        </p:txBody>
      </p:sp>
      <p:sp>
        <p:nvSpPr>
          <p:cNvPr id="37" name="Rounded Rectangle 36"/>
          <p:cNvSpPr/>
          <p:nvPr/>
        </p:nvSpPr>
        <p:spPr>
          <a:xfrm>
            <a:off x="935391" y="7964503"/>
            <a:ext cx="5334000" cy="1828800"/>
          </a:xfrm>
          <a:prstGeom prst="roundRect">
            <a:avLst/>
          </a:prstGeom>
          <a:solidFill>
            <a:schemeClr val="accent3">
              <a:lumMod val="60000"/>
              <a:lumOff val="4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0" dirty="0" smtClean="0">
                <a:solidFill>
                  <a:schemeClr val="tx1">
                    <a:lumMod val="95000"/>
                    <a:lumOff val="5000"/>
                  </a:schemeClr>
                </a:solidFill>
                <a:latin typeface="Arial" panose="020B0604020202020204" pitchFamily="34" charset="0"/>
                <a:cs typeface="Arial" panose="020B0604020202020204" pitchFamily="34" charset="0"/>
              </a:rPr>
              <a:t>Thời Âu Lạc</a:t>
            </a:r>
            <a:endParaRPr lang="en-US" sz="5000" dirty="0">
              <a:solidFill>
                <a:schemeClr val="tx1">
                  <a:lumMod val="95000"/>
                  <a:lumOff val="5000"/>
                </a:schemeClr>
              </a:solidFill>
            </a:endParaRPr>
          </a:p>
        </p:txBody>
      </p:sp>
      <p:sp>
        <p:nvSpPr>
          <p:cNvPr id="38" name="Rounded Rectangle 37"/>
          <p:cNvSpPr/>
          <p:nvPr/>
        </p:nvSpPr>
        <p:spPr>
          <a:xfrm>
            <a:off x="8305800" y="3009900"/>
            <a:ext cx="6671382" cy="1018544"/>
          </a:xfrm>
          <a:prstGeom prst="roundRect">
            <a:avLst/>
          </a:prstGeom>
          <a:solidFill>
            <a:srgbClr val="FCF39A"/>
          </a:solidFill>
          <a:ln>
            <a:solidFill>
              <a:srgbClr val="F1F2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0" dirty="0" smtClean="0">
                <a:solidFill>
                  <a:schemeClr val="tx1">
                    <a:lumMod val="95000"/>
                    <a:lumOff val="5000"/>
                  </a:schemeClr>
                </a:solidFill>
                <a:latin typeface="Arial" panose="020B0604020202020204" pitchFamily="34" charset="0"/>
                <a:cs typeface="Arial" panose="020B0604020202020204" pitchFamily="34" charset="0"/>
              </a:rPr>
              <a:t>Thần Kim Quy</a:t>
            </a:r>
            <a:endParaRPr lang="en-US" sz="5000" dirty="0">
              <a:solidFill>
                <a:schemeClr val="tx1">
                  <a:lumMod val="95000"/>
                  <a:lumOff val="5000"/>
                </a:schemeClr>
              </a:solidFill>
            </a:endParaRPr>
          </a:p>
        </p:txBody>
      </p:sp>
      <p:sp>
        <p:nvSpPr>
          <p:cNvPr id="39" name="Rounded Rectangle 38"/>
          <p:cNvSpPr/>
          <p:nvPr/>
        </p:nvSpPr>
        <p:spPr>
          <a:xfrm>
            <a:off x="8415299" y="4485644"/>
            <a:ext cx="6561883" cy="1018544"/>
          </a:xfrm>
          <a:prstGeom prst="roundRect">
            <a:avLst/>
          </a:prstGeom>
          <a:solidFill>
            <a:srgbClr val="FCF39A"/>
          </a:solidFill>
          <a:ln>
            <a:solidFill>
              <a:srgbClr val="F1F2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0" dirty="0" smtClean="0">
                <a:solidFill>
                  <a:schemeClr val="tx1">
                    <a:lumMod val="95000"/>
                    <a:lumOff val="5000"/>
                  </a:schemeClr>
                </a:solidFill>
                <a:latin typeface="Arial" panose="020B0604020202020204" pitchFamily="34" charset="0"/>
                <a:cs typeface="Arial" panose="020B0604020202020204" pitchFamily="34" charset="0"/>
              </a:rPr>
              <a:t>Sơn Tinh Thủy Tinh</a:t>
            </a:r>
            <a:endParaRPr lang="en-US" sz="5000" dirty="0">
              <a:solidFill>
                <a:schemeClr val="tx1">
                  <a:lumMod val="95000"/>
                  <a:lumOff val="5000"/>
                </a:schemeClr>
              </a:solidFill>
            </a:endParaRPr>
          </a:p>
        </p:txBody>
      </p:sp>
      <p:sp>
        <p:nvSpPr>
          <p:cNvPr id="40" name="Rounded Rectangle 39"/>
          <p:cNvSpPr/>
          <p:nvPr/>
        </p:nvSpPr>
        <p:spPr>
          <a:xfrm>
            <a:off x="8415299" y="6069592"/>
            <a:ext cx="6714281" cy="1018544"/>
          </a:xfrm>
          <a:prstGeom prst="roundRect">
            <a:avLst/>
          </a:prstGeom>
          <a:solidFill>
            <a:srgbClr val="FCF39A"/>
          </a:solidFill>
          <a:ln>
            <a:solidFill>
              <a:srgbClr val="F1F2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0" dirty="0" smtClean="0">
                <a:solidFill>
                  <a:schemeClr val="tx1">
                    <a:lumMod val="95000"/>
                    <a:lumOff val="5000"/>
                  </a:schemeClr>
                </a:solidFill>
                <a:latin typeface="Arial" panose="020B0604020202020204" pitchFamily="34" charset="0"/>
                <a:cs typeface="Arial" panose="020B0604020202020204" pitchFamily="34" charset="0"/>
              </a:rPr>
              <a:t>Thánh Gióng</a:t>
            </a:r>
            <a:endParaRPr lang="en-US" sz="5000" dirty="0">
              <a:solidFill>
                <a:schemeClr val="tx1">
                  <a:lumMod val="95000"/>
                  <a:lumOff val="5000"/>
                </a:schemeClr>
              </a:solidFill>
            </a:endParaRPr>
          </a:p>
        </p:txBody>
      </p:sp>
      <p:sp>
        <p:nvSpPr>
          <p:cNvPr id="41" name="Rounded Rectangle 40"/>
          <p:cNvSpPr/>
          <p:nvPr/>
        </p:nvSpPr>
        <p:spPr>
          <a:xfrm>
            <a:off x="8418928" y="7447893"/>
            <a:ext cx="6710653" cy="1018544"/>
          </a:xfrm>
          <a:prstGeom prst="roundRect">
            <a:avLst/>
          </a:prstGeom>
          <a:solidFill>
            <a:srgbClr val="FCF39A"/>
          </a:solidFill>
          <a:ln>
            <a:solidFill>
              <a:srgbClr val="F1F2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0" dirty="0" smtClean="0">
                <a:solidFill>
                  <a:schemeClr val="tx1">
                    <a:lumMod val="95000"/>
                    <a:lumOff val="5000"/>
                  </a:schemeClr>
                </a:solidFill>
                <a:latin typeface="Arial" panose="020B0604020202020204" pitchFamily="34" charset="0"/>
                <a:cs typeface="Arial" panose="020B0604020202020204" pitchFamily="34" charset="0"/>
              </a:rPr>
              <a:t>Mị Châu Trọng Thủy</a:t>
            </a:r>
            <a:endParaRPr lang="en-US" sz="5000" dirty="0">
              <a:solidFill>
                <a:schemeClr val="tx1">
                  <a:lumMod val="95000"/>
                  <a:lumOff val="5000"/>
                </a:schemeClr>
              </a:solidFill>
            </a:endParaRPr>
          </a:p>
        </p:txBody>
      </p:sp>
      <p:sp>
        <p:nvSpPr>
          <p:cNvPr id="42" name="Rounded Rectangle 41"/>
          <p:cNvSpPr/>
          <p:nvPr/>
        </p:nvSpPr>
        <p:spPr>
          <a:xfrm>
            <a:off x="8415300" y="8962743"/>
            <a:ext cx="6714282" cy="1018544"/>
          </a:xfrm>
          <a:prstGeom prst="roundRect">
            <a:avLst/>
          </a:prstGeom>
          <a:solidFill>
            <a:srgbClr val="FCF39A"/>
          </a:solidFill>
          <a:ln>
            <a:solidFill>
              <a:srgbClr val="F1F2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0" dirty="0" smtClean="0">
                <a:solidFill>
                  <a:schemeClr val="tx1">
                    <a:lumMod val="95000"/>
                    <a:lumOff val="5000"/>
                  </a:schemeClr>
                </a:solidFill>
                <a:latin typeface="Arial" panose="020B0604020202020204" pitchFamily="34" charset="0"/>
                <a:cs typeface="Arial" panose="020B0604020202020204" pitchFamily="34" charset="0"/>
              </a:rPr>
              <a:t>Bánh chưng bánh giày</a:t>
            </a:r>
            <a:endParaRPr lang="en-US" sz="5000" dirty="0">
              <a:solidFill>
                <a:schemeClr val="tx1">
                  <a:lumMod val="95000"/>
                  <a:lumOff val="5000"/>
                </a:schemeClr>
              </a:solidFill>
            </a:endParaRPr>
          </a:p>
        </p:txBody>
      </p:sp>
      <p:cxnSp>
        <p:nvCxnSpPr>
          <p:cNvPr id="43" name="Straight Arrow Connector 42"/>
          <p:cNvCxnSpPr>
            <a:stCxn id="36" idx="3"/>
          </p:cNvCxnSpPr>
          <p:nvPr/>
        </p:nvCxnSpPr>
        <p:spPr>
          <a:xfrm flipV="1">
            <a:off x="6269391" y="4994916"/>
            <a:ext cx="2102596" cy="1874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36" idx="3"/>
          </p:cNvCxnSpPr>
          <p:nvPr/>
        </p:nvCxnSpPr>
        <p:spPr>
          <a:xfrm>
            <a:off x="6269391" y="5182406"/>
            <a:ext cx="2256191" cy="13964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36" idx="3"/>
            <a:endCxn id="42" idx="1"/>
          </p:cNvCxnSpPr>
          <p:nvPr/>
        </p:nvCxnSpPr>
        <p:spPr>
          <a:xfrm>
            <a:off x="6269391" y="5182406"/>
            <a:ext cx="2145909" cy="42896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endCxn id="38" idx="1"/>
          </p:cNvCxnSpPr>
          <p:nvPr/>
        </p:nvCxnSpPr>
        <p:spPr>
          <a:xfrm flipV="1">
            <a:off x="6300118" y="3519172"/>
            <a:ext cx="2005682" cy="53527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37" idx="3"/>
            <a:endCxn id="41" idx="1"/>
          </p:cNvCxnSpPr>
          <p:nvPr/>
        </p:nvCxnSpPr>
        <p:spPr>
          <a:xfrm flipV="1">
            <a:off x="6269391" y="7957165"/>
            <a:ext cx="2149537" cy="9217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barn(inVertical)">
                                      <p:cBhvr>
                                        <p:cTn id="7" dur="500"/>
                                        <p:tgtEl>
                                          <p:spTgt spid="35"/>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barn(inVertical)">
                                      <p:cBhvr>
                                        <p:cTn id="10" dur="500"/>
                                        <p:tgtEl>
                                          <p:spTgt spid="36"/>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barn(inVertical)">
                                      <p:cBhvr>
                                        <p:cTn id="13" dur="500"/>
                                        <p:tgtEl>
                                          <p:spTgt spid="37"/>
                                        </p:tgtEl>
                                      </p:cBhvr>
                                    </p:animEffect>
                                  </p:childTnLst>
                                </p:cTn>
                              </p:par>
                              <p:par>
                                <p:cTn id="14" presetID="16" presetClass="entr" presetSubtype="21"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barn(inVertical)">
                                      <p:cBhvr>
                                        <p:cTn id="16" dur="500"/>
                                        <p:tgtEl>
                                          <p:spTgt spid="38"/>
                                        </p:tgtEl>
                                      </p:cBhvr>
                                    </p:animEffect>
                                  </p:childTnLst>
                                </p:cTn>
                              </p:par>
                              <p:par>
                                <p:cTn id="17" presetID="16" presetClass="entr" presetSubtype="21"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barn(inVertical)">
                                      <p:cBhvr>
                                        <p:cTn id="19" dur="500"/>
                                        <p:tgtEl>
                                          <p:spTgt spid="39"/>
                                        </p:tgtEl>
                                      </p:cBhvr>
                                    </p:animEffect>
                                  </p:childTnLst>
                                </p:cTn>
                              </p:par>
                              <p:par>
                                <p:cTn id="20" presetID="16" presetClass="entr" presetSubtype="21"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barn(inVertical)">
                                      <p:cBhvr>
                                        <p:cTn id="22" dur="500"/>
                                        <p:tgtEl>
                                          <p:spTgt spid="40"/>
                                        </p:tgtEl>
                                      </p:cBhvr>
                                    </p:animEffect>
                                  </p:childTnLst>
                                </p:cTn>
                              </p:par>
                              <p:par>
                                <p:cTn id="23" presetID="16" presetClass="entr" presetSubtype="21"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barn(inVertical)">
                                      <p:cBhvr>
                                        <p:cTn id="25" dur="500"/>
                                        <p:tgtEl>
                                          <p:spTgt spid="41"/>
                                        </p:tgtEl>
                                      </p:cBhvr>
                                    </p:animEffect>
                                  </p:childTnLst>
                                </p:cTn>
                              </p:par>
                              <p:par>
                                <p:cTn id="26" presetID="16" presetClass="entr" presetSubtype="21" fill="hold" grpId="0" nodeType="withEffect">
                                  <p:stCondLst>
                                    <p:cond delay="0"/>
                                  </p:stCondLst>
                                  <p:childTnLst>
                                    <p:set>
                                      <p:cBhvr>
                                        <p:cTn id="27" dur="1" fill="hold">
                                          <p:stCondLst>
                                            <p:cond delay="0"/>
                                          </p:stCondLst>
                                        </p:cTn>
                                        <p:tgtEl>
                                          <p:spTgt spid="42"/>
                                        </p:tgtEl>
                                        <p:attrNameLst>
                                          <p:attrName>style.visibility</p:attrName>
                                        </p:attrNameLst>
                                      </p:cBhvr>
                                      <p:to>
                                        <p:strVal val="visible"/>
                                      </p:to>
                                    </p:set>
                                    <p:animEffect transition="in" filter="barn(inVertical)">
                                      <p:cBhvr>
                                        <p:cTn id="28" dur="500"/>
                                        <p:tgtEl>
                                          <p:spTgt spid="42"/>
                                        </p:tgtEl>
                                      </p:cBhvr>
                                    </p:animEffect>
                                  </p:childTnLst>
                                </p:cTn>
                              </p:par>
                            </p:childTnLst>
                          </p:cTn>
                        </p:par>
                      </p:childTnLst>
                    </p:cTn>
                  </p:par>
                  <p:par>
                    <p:cTn id="29" fill="hold">
                      <p:stCondLst>
                        <p:cond delay="indefinite"/>
                      </p:stCondLst>
                      <p:childTnLst>
                        <p:par>
                          <p:cTn id="30" fill="hold">
                            <p:stCondLst>
                              <p:cond delay="0"/>
                            </p:stCondLst>
                            <p:childTnLst>
                              <p:par>
                                <p:cTn id="31" presetID="16" presetClass="entr" presetSubtype="21" fill="hold" nodeType="click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barn(inVertical)">
                                      <p:cBhvr>
                                        <p:cTn id="33" dur="500"/>
                                        <p:tgtEl>
                                          <p:spTgt spid="43"/>
                                        </p:tgtEl>
                                      </p:cBhvr>
                                    </p:animEffect>
                                  </p:childTnLst>
                                </p:cTn>
                              </p:par>
                              <p:par>
                                <p:cTn id="34" presetID="16" presetClass="entr" presetSubtype="21" fill="hold" nodeType="withEffect">
                                  <p:stCondLst>
                                    <p:cond delay="0"/>
                                  </p:stCondLst>
                                  <p:childTnLst>
                                    <p:set>
                                      <p:cBhvr>
                                        <p:cTn id="35" dur="1" fill="hold">
                                          <p:stCondLst>
                                            <p:cond delay="0"/>
                                          </p:stCondLst>
                                        </p:cTn>
                                        <p:tgtEl>
                                          <p:spTgt spid="44"/>
                                        </p:tgtEl>
                                        <p:attrNameLst>
                                          <p:attrName>style.visibility</p:attrName>
                                        </p:attrNameLst>
                                      </p:cBhvr>
                                      <p:to>
                                        <p:strVal val="visible"/>
                                      </p:to>
                                    </p:set>
                                    <p:animEffect transition="in" filter="barn(inVertical)">
                                      <p:cBhvr>
                                        <p:cTn id="36" dur="500"/>
                                        <p:tgtEl>
                                          <p:spTgt spid="44"/>
                                        </p:tgtEl>
                                      </p:cBhvr>
                                    </p:animEffect>
                                  </p:childTnLst>
                                </p:cTn>
                              </p:par>
                              <p:par>
                                <p:cTn id="37" presetID="16" presetClass="entr" presetSubtype="21" fill="hold" nodeType="withEffect">
                                  <p:stCondLst>
                                    <p:cond delay="0"/>
                                  </p:stCondLst>
                                  <p:childTnLst>
                                    <p:set>
                                      <p:cBhvr>
                                        <p:cTn id="38" dur="1" fill="hold">
                                          <p:stCondLst>
                                            <p:cond delay="0"/>
                                          </p:stCondLst>
                                        </p:cTn>
                                        <p:tgtEl>
                                          <p:spTgt spid="45"/>
                                        </p:tgtEl>
                                        <p:attrNameLst>
                                          <p:attrName>style.visibility</p:attrName>
                                        </p:attrNameLst>
                                      </p:cBhvr>
                                      <p:to>
                                        <p:strVal val="visible"/>
                                      </p:to>
                                    </p:set>
                                    <p:animEffect transition="in" filter="barn(inVertical)">
                                      <p:cBhvr>
                                        <p:cTn id="39" dur="500"/>
                                        <p:tgtEl>
                                          <p:spTgt spid="45"/>
                                        </p:tgtEl>
                                      </p:cBhvr>
                                    </p:animEffect>
                                  </p:childTnLst>
                                </p:cTn>
                              </p:par>
                            </p:childTnLst>
                          </p:cTn>
                        </p:par>
                      </p:childTnLst>
                    </p:cTn>
                  </p:par>
                  <p:par>
                    <p:cTn id="40" fill="hold">
                      <p:stCondLst>
                        <p:cond delay="indefinite"/>
                      </p:stCondLst>
                      <p:childTnLst>
                        <p:par>
                          <p:cTn id="41" fill="hold">
                            <p:stCondLst>
                              <p:cond delay="0"/>
                            </p:stCondLst>
                            <p:childTnLst>
                              <p:par>
                                <p:cTn id="42" presetID="16" presetClass="entr" presetSubtype="21" fill="hold" nodeType="clickEffect">
                                  <p:stCondLst>
                                    <p:cond delay="0"/>
                                  </p:stCondLst>
                                  <p:childTnLst>
                                    <p:set>
                                      <p:cBhvr>
                                        <p:cTn id="43" dur="1" fill="hold">
                                          <p:stCondLst>
                                            <p:cond delay="0"/>
                                          </p:stCondLst>
                                        </p:cTn>
                                        <p:tgtEl>
                                          <p:spTgt spid="46"/>
                                        </p:tgtEl>
                                        <p:attrNameLst>
                                          <p:attrName>style.visibility</p:attrName>
                                        </p:attrNameLst>
                                      </p:cBhvr>
                                      <p:to>
                                        <p:strVal val="visible"/>
                                      </p:to>
                                    </p:set>
                                    <p:animEffect transition="in" filter="barn(inVertical)">
                                      <p:cBhvr>
                                        <p:cTn id="44" dur="500"/>
                                        <p:tgtEl>
                                          <p:spTgt spid="46"/>
                                        </p:tgtEl>
                                      </p:cBhvr>
                                    </p:animEffect>
                                  </p:childTnLst>
                                </p:cTn>
                              </p:par>
                              <p:par>
                                <p:cTn id="45" presetID="16" presetClass="entr" presetSubtype="21" fill="hold" nodeType="withEffect">
                                  <p:stCondLst>
                                    <p:cond delay="0"/>
                                  </p:stCondLst>
                                  <p:childTnLst>
                                    <p:set>
                                      <p:cBhvr>
                                        <p:cTn id="46" dur="1" fill="hold">
                                          <p:stCondLst>
                                            <p:cond delay="0"/>
                                          </p:stCondLst>
                                        </p:cTn>
                                        <p:tgtEl>
                                          <p:spTgt spid="47"/>
                                        </p:tgtEl>
                                        <p:attrNameLst>
                                          <p:attrName>style.visibility</p:attrName>
                                        </p:attrNameLst>
                                      </p:cBhvr>
                                      <p:to>
                                        <p:strVal val="visible"/>
                                      </p:to>
                                    </p:set>
                                    <p:animEffect transition="in" filter="barn(inVertical)">
                                      <p:cBhvr>
                                        <p:cTn id="4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6" grpId="0" animBg="1"/>
      <p:bldP spid="37" grpId="0" animBg="1"/>
      <p:bldP spid="38" grpId="0" animBg="1"/>
      <p:bldP spid="39" grpId="0" animBg="1"/>
      <p:bldP spid="40" grpId="0" animBg="1"/>
      <p:bldP spid="41" grpId="0" animBg="1"/>
      <p:bldP spid="42"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FFE9D9"/>
        </a:solidFill>
        <a:effectLst/>
      </p:bgPr>
    </p:bg>
    <p:spTree>
      <p:nvGrpSpPr>
        <p:cNvPr id="1" name=""/>
        <p:cNvGrpSpPr/>
        <p:nvPr/>
      </p:nvGrpSpPr>
      <p:grpSpPr>
        <a:xfrm>
          <a:off x="0" y="0"/>
          <a:ext cx="0" cy="0"/>
          <a:chOff x="0" y="0"/>
          <a:chExt cx="0" cy="0"/>
        </a:xfrm>
      </p:grpSpPr>
      <p:pic>
        <p:nvPicPr>
          <p:cNvPr id="2" name="Picture 2"/>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rot="-10800000">
            <a:off x="12652222" y="2417185"/>
            <a:ext cx="5242426" cy="5709573"/>
          </a:xfrm>
          <a:prstGeom prst="rect">
            <a:avLst/>
          </a:prstGeom>
        </p:spPr>
      </p:pic>
      <p:pic>
        <p:nvPicPr>
          <p:cNvPr id="3" name="Picture 3"/>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14688526" y="7367718"/>
            <a:ext cx="4269670" cy="4650136"/>
          </a:xfrm>
          <a:prstGeom prst="rect">
            <a:avLst/>
          </a:prstGeom>
        </p:spPr>
      </p:pic>
      <p:pic>
        <p:nvPicPr>
          <p:cNvPr id="4" name="Picture 4"/>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340569">
            <a:off x="15578231" y="-1384622"/>
            <a:ext cx="2344072" cy="6319802"/>
          </a:xfrm>
          <a:prstGeom prst="rect">
            <a:avLst/>
          </a:prstGeom>
        </p:spPr>
      </p:pic>
      <p:pic>
        <p:nvPicPr>
          <p:cNvPr id="5" name="Picture 5"/>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p:blipFill>
        <p:spPr>
          <a:xfrm>
            <a:off x="14688526" y="-1379731"/>
            <a:ext cx="3206122" cy="3478042"/>
          </a:xfrm>
          <a:prstGeom prst="rect">
            <a:avLst/>
          </a:prstGeom>
        </p:spPr>
      </p:pic>
      <p:pic>
        <p:nvPicPr>
          <p:cNvPr id="6" name="Picture 6"/>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p:blipFill>
        <p:spPr>
          <a:xfrm rot="-7295172">
            <a:off x="15806913" y="4006498"/>
            <a:ext cx="2904774" cy="1674206"/>
          </a:xfrm>
          <a:prstGeom prst="rect">
            <a:avLst/>
          </a:prstGeom>
        </p:spPr>
      </p:pic>
      <p:pic>
        <p:nvPicPr>
          <p:cNvPr id="7" name="Picture 7"/>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p:blipFill>
        <p:spPr>
          <a:xfrm>
            <a:off x="15913164" y="1725584"/>
            <a:ext cx="2149831" cy="183713"/>
          </a:xfrm>
          <a:prstGeom prst="rect">
            <a:avLst/>
          </a:prstGeom>
        </p:spPr>
      </p:pic>
      <p:sp>
        <p:nvSpPr>
          <p:cNvPr id="8" name="AutoShape 8"/>
          <p:cNvSpPr/>
          <p:nvPr/>
        </p:nvSpPr>
        <p:spPr>
          <a:xfrm>
            <a:off x="37195" y="0"/>
            <a:ext cx="14969584" cy="10287000"/>
          </a:xfrm>
          <a:prstGeom prst="rect">
            <a:avLst/>
          </a:prstGeom>
          <a:solidFill>
            <a:srgbClr val="FFFFFF"/>
          </a:solidFill>
        </p:spPr>
      </p:sp>
      <p:sp>
        <p:nvSpPr>
          <p:cNvPr id="10" name="TextBox 10"/>
          <p:cNvSpPr txBox="1"/>
          <p:nvPr/>
        </p:nvSpPr>
        <p:spPr>
          <a:xfrm>
            <a:off x="0" y="840150"/>
            <a:ext cx="14969584" cy="1213922"/>
          </a:xfrm>
          <a:prstGeom prst="rect">
            <a:avLst/>
          </a:prstGeom>
        </p:spPr>
        <p:txBody>
          <a:bodyPr wrap="square" lIns="0" tIns="0" rIns="0" bIns="0" rtlCol="0" anchor="t">
            <a:spAutoFit/>
          </a:bodyPr>
          <a:lstStyle/>
          <a:p>
            <a:pPr algn="ctr">
              <a:lnSpc>
                <a:spcPts val="10800"/>
              </a:lnSpc>
            </a:pPr>
            <a:r>
              <a:rPr lang="en-US" sz="6000" b="1" dirty="0" smtClean="0">
                <a:solidFill>
                  <a:srgbClr val="000000"/>
                </a:solidFill>
                <a:latin typeface="Arial" panose="020B0604020202020204" pitchFamily="34" charset="0"/>
                <a:cs typeface="Arial" panose="020B0604020202020204" pitchFamily="34" charset="0"/>
              </a:rPr>
              <a:t>VẬN DỤNG</a:t>
            </a:r>
            <a:endParaRPr lang="en-US" sz="6000" b="1" dirty="0">
              <a:solidFill>
                <a:srgbClr val="000000"/>
              </a:solidFill>
              <a:latin typeface="Arial" panose="020B0604020202020204" pitchFamily="34" charset="0"/>
              <a:cs typeface="Arial" panose="020B0604020202020204" pitchFamily="34" charset="0"/>
            </a:endParaRPr>
          </a:p>
        </p:txBody>
      </p:sp>
      <p:sp>
        <p:nvSpPr>
          <p:cNvPr id="9" name="Rectangle 8"/>
          <p:cNvSpPr/>
          <p:nvPr/>
        </p:nvSpPr>
        <p:spPr>
          <a:xfrm>
            <a:off x="1453470" y="2243339"/>
            <a:ext cx="13600454" cy="1887696"/>
          </a:xfrm>
          <a:prstGeom prst="rect">
            <a:avLst/>
          </a:prstGeom>
        </p:spPr>
        <p:txBody>
          <a:bodyPr wrap="none">
            <a:spAutoFit/>
          </a:bodyPr>
          <a:lstStyle/>
          <a:p>
            <a:pPr algn="ctr">
              <a:lnSpc>
                <a:spcPts val="7000"/>
              </a:lnSpc>
            </a:pPr>
            <a:r>
              <a:rPr lang="nl-NL" sz="5000" dirty="0">
                <a:solidFill>
                  <a:srgbClr val="000000"/>
                </a:solidFill>
                <a:latin typeface="Arial" panose="020B0604020202020204" pitchFamily="34" charset="0"/>
                <a:ea typeface="Calibri" panose="020F0502020204030204" charset="0"/>
                <a:cs typeface="Arial" panose="020B0604020202020204" pitchFamily="34" charset="0"/>
              </a:rPr>
              <a:t>Ngày nay, những phong tục, tập quán, </a:t>
            </a:r>
            <a:endParaRPr lang="nl-NL" sz="5000" dirty="0" smtClean="0">
              <a:solidFill>
                <a:srgbClr val="000000"/>
              </a:solidFill>
              <a:latin typeface="Arial" panose="020B0604020202020204" pitchFamily="34" charset="0"/>
              <a:ea typeface="Calibri" panose="020F0502020204030204" charset="0"/>
              <a:cs typeface="Arial" panose="020B0604020202020204" pitchFamily="34" charset="0"/>
            </a:endParaRPr>
          </a:p>
          <a:p>
            <a:pPr algn="just">
              <a:lnSpc>
                <a:spcPts val="7000"/>
              </a:lnSpc>
            </a:pPr>
            <a:r>
              <a:rPr lang="nl-NL" sz="5000" dirty="0" smtClean="0">
                <a:solidFill>
                  <a:srgbClr val="000000"/>
                </a:solidFill>
                <a:latin typeface="Arial" panose="020B0604020202020204" pitchFamily="34" charset="0"/>
                <a:ea typeface="Calibri" panose="020F0502020204030204" charset="0"/>
                <a:cs typeface="Arial" panose="020B0604020202020204" pitchFamily="34" charset="0"/>
              </a:rPr>
              <a:t>từ </a:t>
            </a:r>
            <a:r>
              <a:rPr lang="nl-NL" sz="5000" dirty="0">
                <a:solidFill>
                  <a:srgbClr val="000000"/>
                </a:solidFill>
                <a:latin typeface="Arial" panose="020B0604020202020204" pitchFamily="34" charset="0"/>
                <a:ea typeface="Calibri" panose="020F0502020204030204" charset="0"/>
                <a:cs typeface="Arial" panose="020B0604020202020204" pitchFamily="34" charset="0"/>
              </a:rPr>
              <a:t>thời Văn </a:t>
            </a:r>
            <a:r>
              <a:rPr lang="nl-NL" sz="5000" dirty="0" smtClean="0">
                <a:solidFill>
                  <a:srgbClr val="000000"/>
                </a:solidFill>
                <a:latin typeface="Arial" panose="020B0604020202020204" pitchFamily="34" charset="0"/>
                <a:ea typeface="Calibri" panose="020F0502020204030204" charset="0"/>
                <a:cs typeface="Arial" panose="020B0604020202020204" pitchFamily="34" charset="0"/>
              </a:rPr>
              <a:t>Lang, Âu Lạc </a:t>
            </a:r>
            <a:r>
              <a:rPr lang="nl-NL" sz="5000" dirty="0">
                <a:solidFill>
                  <a:srgbClr val="000000"/>
                </a:solidFill>
                <a:latin typeface="Arial" panose="020B0604020202020204" pitchFamily="34" charset="0"/>
                <a:ea typeface="Calibri" panose="020F0502020204030204" charset="0"/>
                <a:cs typeface="Arial" panose="020B0604020202020204" pitchFamily="34" charset="0"/>
              </a:rPr>
              <a:t>còn được lưu </a:t>
            </a:r>
            <a:r>
              <a:rPr lang="nl-NL" sz="5000" dirty="0" smtClean="0">
                <a:solidFill>
                  <a:srgbClr val="000000"/>
                </a:solidFill>
                <a:latin typeface="Arial" panose="020B0604020202020204" pitchFamily="34" charset="0"/>
                <a:ea typeface="Calibri" panose="020F0502020204030204" charset="0"/>
                <a:cs typeface="Arial" panose="020B0604020202020204" pitchFamily="34" charset="0"/>
              </a:rPr>
              <a:t>giữ</a:t>
            </a:r>
            <a:endParaRPr lang="en-US" sz="5000" dirty="0">
              <a:latin typeface="Arial" panose="020B0604020202020204" pitchFamily="34" charset="0"/>
              <a:cs typeface="Arial" panose="020B0604020202020204" pitchFamily="34" charset="0"/>
            </a:endParaRPr>
          </a:p>
        </p:txBody>
      </p:sp>
      <p:pic>
        <p:nvPicPr>
          <p:cNvPr id="11" name="Picture 2" descr="Festivals in Vietnam | Baamboozl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30719" y="4319131"/>
            <a:ext cx="4951012" cy="552280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28" name="Picture 4" descr="Tục ăn trầu ở châu Á"/>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370504" y="4430369"/>
            <a:ext cx="4643816" cy="537243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30" name="Picture 6" descr="Nhuộm Răng Đen - Phong Tục Lâu Đời Của Người Việ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363200" y="4490054"/>
            <a:ext cx="4304923" cy="526426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barn(inVertical)">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21" presetClass="entr" presetSubtype="1"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wheel(1)">
                                      <p:cBhvr>
                                        <p:cTn id="17" dur="2000"/>
                                        <p:tgtEl>
                                          <p:spTgt spid="11"/>
                                        </p:tgtEl>
                                      </p:cBhvr>
                                    </p:animEffect>
                                  </p:childTnLst>
                                </p:cTn>
                              </p:par>
                              <p:par>
                                <p:cTn id="18" presetID="21" presetClass="entr" presetSubtype="1" fill="hold" nodeType="withEffect">
                                  <p:stCondLst>
                                    <p:cond delay="0"/>
                                  </p:stCondLst>
                                  <p:childTnLst>
                                    <p:set>
                                      <p:cBhvr>
                                        <p:cTn id="19" dur="1" fill="hold">
                                          <p:stCondLst>
                                            <p:cond delay="0"/>
                                          </p:stCondLst>
                                        </p:cTn>
                                        <p:tgtEl>
                                          <p:spTgt spid="1028"/>
                                        </p:tgtEl>
                                        <p:attrNameLst>
                                          <p:attrName>style.visibility</p:attrName>
                                        </p:attrNameLst>
                                      </p:cBhvr>
                                      <p:to>
                                        <p:strVal val="visible"/>
                                      </p:to>
                                    </p:set>
                                    <p:animEffect transition="in" filter="wheel(1)">
                                      <p:cBhvr>
                                        <p:cTn id="20" dur="2000"/>
                                        <p:tgtEl>
                                          <p:spTgt spid="1028"/>
                                        </p:tgtEl>
                                      </p:cBhvr>
                                    </p:animEffect>
                                  </p:childTnLst>
                                </p:cTn>
                              </p:par>
                              <p:par>
                                <p:cTn id="21" presetID="21" presetClass="entr" presetSubtype="1" fill="hold" nodeType="withEffect">
                                  <p:stCondLst>
                                    <p:cond delay="0"/>
                                  </p:stCondLst>
                                  <p:childTnLst>
                                    <p:set>
                                      <p:cBhvr>
                                        <p:cTn id="22" dur="1" fill="hold">
                                          <p:stCondLst>
                                            <p:cond delay="0"/>
                                          </p:stCondLst>
                                        </p:cTn>
                                        <p:tgtEl>
                                          <p:spTgt spid="1030"/>
                                        </p:tgtEl>
                                        <p:attrNameLst>
                                          <p:attrName>style.visibility</p:attrName>
                                        </p:attrNameLst>
                                      </p:cBhvr>
                                      <p:to>
                                        <p:strVal val="visible"/>
                                      </p:to>
                                    </p:set>
                                    <p:animEffect transition="in" filter="wheel(1)">
                                      <p:cBhvr>
                                        <p:cTn id="23" dur="2000"/>
                                        <p:tgtEl>
                                          <p:spTgt spid="10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9"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1066800" y="1003100"/>
            <a:ext cx="16992600" cy="1538883"/>
          </a:xfrm>
          <a:prstGeom prst="rect">
            <a:avLst/>
          </a:prstGeom>
        </p:spPr>
        <p:txBody>
          <a:bodyPr wrap="square" lIns="0" tIns="0" rIns="0" bIns="0" rtlCol="0" anchor="t">
            <a:spAutoFit/>
          </a:bodyPr>
          <a:lstStyle/>
          <a:p>
            <a:pPr algn="ctr">
              <a:lnSpc>
                <a:spcPts val="6000"/>
              </a:lnSpc>
            </a:pPr>
            <a:r>
              <a:rPr lang="en-US" sz="5000" spc="210" dirty="0" smtClean="0">
                <a:solidFill>
                  <a:schemeClr val="accent2">
                    <a:lumMod val="50000"/>
                  </a:schemeClr>
                </a:solidFill>
                <a:latin typeface="Arial" panose="020B0604020202020204" pitchFamily="34" charset="0"/>
                <a:cs typeface="Arial" panose="020B0604020202020204" pitchFamily="34" charset="0"/>
              </a:rPr>
              <a:t>Lập bảng so sánh về </a:t>
            </a:r>
            <a:r>
              <a:rPr lang="vi-VN" sz="5000" spc="210" dirty="0" smtClean="0">
                <a:solidFill>
                  <a:schemeClr val="accent2">
                    <a:lumMod val="50000"/>
                  </a:schemeClr>
                </a:solidFill>
                <a:latin typeface="Arial" panose="020B0604020202020204" pitchFamily="34" charset="0"/>
                <a:cs typeface="Arial" panose="020B0604020202020204" pitchFamily="34" charset="0"/>
              </a:rPr>
              <a:t>Nhà </a:t>
            </a:r>
            <a:r>
              <a:rPr lang="vi-VN" sz="5000" spc="210" dirty="0">
                <a:solidFill>
                  <a:schemeClr val="accent2">
                    <a:lumMod val="50000"/>
                  </a:schemeClr>
                </a:solidFill>
                <a:latin typeface="Arial" panose="020B0604020202020204" pitchFamily="34" charset="0"/>
                <a:cs typeface="Arial" panose="020B0604020202020204" pitchFamily="34" charset="0"/>
              </a:rPr>
              <a:t>nước Văn Lang, Âu </a:t>
            </a:r>
            <a:r>
              <a:rPr lang="vi-VN" sz="5000" spc="210" dirty="0" smtClean="0">
                <a:solidFill>
                  <a:schemeClr val="accent2">
                    <a:lumMod val="50000"/>
                  </a:schemeClr>
                </a:solidFill>
                <a:latin typeface="Arial" panose="020B0604020202020204" pitchFamily="34" charset="0"/>
                <a:cs typeface="Arial" panose="020B0604020202020204" pitchFamily="34" charset="0"/>
              </a:rPr>
              <a:t>Lạc</a:t>
            </a:r>
            <a:r>
              <a:rPr lang="en-US" sz="5000" spc="210" dirty="0" smtClean="0">
                <a:solidFill>
                  <a:schemeClr val="accent2">
                    <a:lumMod val="50000"/>
                  </a:schemeClr>
                </a:solidFill>
                <a:latin typeface="Arial" panose="020B0604020202020204" pitchFamily="34" charset="0"/>
                <a:cs typeface="Arial" panose="020B0604020202020204" pitchFamily="34" charset="0"/>
              </a:rPr>
              <a:t> theo tiêu chí: thời gian ra đời, kinh đô, tổ chức nhà nước</a:t>
            </a:r>
            <a:endParaRPr lang="en-US" sz="5000" spc="210" dirty="0">
              <a:solidFill>
                <a:schemeClr val="accent2">
                  <a:lumMod val="50000"/>
                </a:schemeClr>
              </a:solidFill>
              <a:latin typeface="Arial" panose="020B0604020202020204" pitchFamily="34" charset="0"/>
              <a:cs typeface="Arial" panose="020B0604020202020204" pitchFamily="34" charset="0"/>
            </a:endParaRPr>
          </a:p>
        </p:txBody>
      </p:sp>
      <p:graphicFrame>
        <p:nvGraphicFramePr>
          <p:cNvPr id="3" name="Table 2"/>
          <p:cNvGraphicFramePr>
            <a:graphicFrameLocks noGrp="1"/>
          </p:cNvGraphicFramePr>
          <p:nvPr/>
        </p:nvGraphicFramePr>
        <p:xfrm>
          <a:off x="685800" y="2628900"/>
          <a:ext cx="16992600" cy="7203440"/>
        </p:xfrm>
        <a:graphic>
          <a:graphicData uri="http://schemas.openxmlformats.org/drawingml/2006/table">
            <a:tbl>
              <a:tblPr firstRow="1" bandRow="1">
                <a:tableStyleId>{7DF18680-E054-41AD-8BC1-D1AEF772440D}</a:tableStyleId>
              </a:tblPr>
              <a:tblGrid>
                <a:gridCol w="4953000"/>
                <a:gridCol w="5867400"/>
                <a:gridCol w="6172200"/>
              </a:tblGrid>
              <a:tr h="370840">
                <a:tc>
                  <a:txBody>
                    <a:bodyPr/>
                    <a:lstStyle/>
                    <a:p>
                      <a:pPr algn="ctr">
                        <a:lnSpc>
                          <a:spcPts val="7000"/>
                        </a:lnSpc>
                      </a:pPr>
                      <a:r>
                        <a:rPr lang="en-US" sz="4500" dirty="0" smtClean="0">
                          <a:latin typeface="Arial" panose="020B0604020202020204" pitchFamily="34" charset="0"/>
                          <a:cs typeface="Arial" panose="020B0604020202020204" pitchFamily="34" charset="0"/>
                        </a:rPr>
                        <a:t>Nội</a:t>
                      </a:r>
                      <a:r>
                        <a:rPr lang="en-US" sz="4500" baseline="0" dirty="0" smtClean="0">
                          <a:latin typeface="Arial" panose="020B0604020202020204" pitchFamily="34" charset="0"/>
                          <a:cs typeface="Arial" panose="020B0604020202020204" pitchFamily="34" charset="0"/>
                        </a:rPr>
                        <a:t> dung</a:t>
                      </a:r>
                      <a:endParaRPr lang="en-US" sz="4500" dirty="0">
                        <a:latin typeface="Arial" panose="020B0604020202020204" pitchFamily="34" charset="0"/>
                        <a:cs typeface="Arial" panose="020B0604020202020204" pitchFamily="34" charset="0"/>
                      </a:endParaRPr>
                    </a:p>
                  </a:txBody>
                  <a:tcPr>
                    <a:solidFill>
                      <a:schemeClr val="accent2"/>
                    </a:solidFill>
                  </a:tcPr>
                </a:tc>
                <a:tc>
                  <a:txBody>
                    <a:bodyPr/>
                    <a:lstStyle/>
                    <a:p>
                      <a:pPr algn="ctr">
                        <a:lnSpc>
                          <a:spcPts val="7000"/>
                        </a:lnSpc>
                      </a:pPr>
                      <a:r>
                        <a:rPr lang="en-US" sz="4500" dirty="0" smtClean="0">
                          <a:latin typeface="Arial" panose="020B0604020202020204" pitchFamily="34" charset="0"/>
                          <a:cs typeface="Arial" panose="020B0604020202020204" pitchFamily="34" charset="0"/>
                        </a:rPr>
                        <a:t>Văn</a:t>
                      </a:r>
                      <a:r>
                        <a:rPr lang="en-US" sz="4500" baseline="0" dirty="0" smtClean="0">
                          <a:latin typeface="Arial" panose="020B0604020202020204" pitchFamily="34" charset="0"/>
                          <a:cs typeface="Arial" panose="020B0604020202020204" pitchFamily="34" charset="0"/>
                        </a:rPr>
                        <a:t> Lang</a:t>
                      </a:r>
                      <a:endParaRPr lang="en-US" sz="4500" dirty="0">
                        <a:latin typeface="Arial" panose="020B0604020202020204" pitchFamily="34" charset="0"/>
                        <a:cs typeface="Arial" panose="020B0604020202020204" pitchFamily="34" charset="0"/>
                      </a:endParaRPr>
                    </a:p>
                  </a:txBody>
                  <a:tcPr>
                    <a:solidFill>
                      <a:schemeClr val="accent2"/>
                    </a:solidFill>
                  </a:tcPr>
                </a:tc>
                <a:tc>
                  <a:txBody>
                    <a:bodyPr/>
                    <a:lstStyle/>
                    <a:p>
                      <a:pPr algn="ctr">
                        <a:lnSpc>
                          <a:spcPts val="7000"/>
                        </a:lnSpc>
                      </a:pPr>
                      <a:r>
                        <a:rPr lang="en-US" sz="4500" dirty="0" smtClean="0">
                          <a:latin typeface="Arial" panose="020B0604020202020204" pitchFamily="34" charset="0"/>
                          <a:cs typeface="Arial" panose="020B0604020202020204" pitchFamily="34" charset="0"/>
                        </a:rPr>
                        <a:t>Âu</a:t>
                      </a:r>
                      <a:r>
                        <a:rPr lang="en-US" sz="4500" baseline="0" dirty="0" smtClean="0">
                          <a:latin typeface="Arial" panose="020B0604020202020204" pitchFamily="34" charset="0"/>
                          <a:cs typeface="Arial" panose="020B0604020202020204" pitchFamily="34" charset="0"/>
                        </a:rPr>
                        <a:t> Lạc</a:t>
                      </a:r>
                      <a:endParaRPr lang="en-US" sz="4500" dirty="0">
                        <a:latin typeface="Arial" panose="020B0604020202020204" pitchFamily="34" charset="0"/>
                        <a:cs typeface="Arial" panose="020B0604020202020204" pitchFamily="34" charset="0"/>
                      </a:endParaRPr>
                    </a:p>
                  </a:txBody>
                  <a:tcPr>
                    <a:solidFill>
                      <a:schemeClr val="accent2"/>
                    </a:solidFill>
                  </a:tcPr>
                </a:tc>
              </a:tr>
              <a:tr h="365760">
                <a:tc>
                  <a:txBody>
                    <a:bodyPr/>
                    <a:lstStyle/>
                    <a:p>
                      <a:pPr marL="0" marR="0" algn="just">
                        <a:lnSpc>
                          <a:spcPts val="7000"/>
                        </a:lnSpc>
                        <a:spcBef>
                          <a:spcPts val="0"/>
                        </a:spcBef>
                        <a:spcAft>
                          <a:spcPts val="0"/>
                        </a:spcAft>
                      </a:pPr>
                      <a:r>
                        <a:rPr lang="nl-NL" sz="4500" dirty="0">
                          <a:solidFill>
                            <a:srgbClr val="002060"/>
                          </a:solidFill>
                          <a:effectLst/>
                          <a:latin typeface="Arial" panose="020B0604020202020204" pitchFamily="34" charset="0"/>
                          <a:ea typeface="Calibri" panose="020F0502020204030204" charset="0"/>
                          <a:cs typeface="Arial" panose="020B0604020202020204" pitchFamily="34" charset="0"/>
                        </a:rPr>
                        <a:t>Thời gian ra đời</a:t>
                      </a:r>
                      <a:endParaRPr lang="en-US" sz="4500" dirty="0">
                        <a:solidFill>
                          <a:srgbClr val="002060"/>
                        </a:solidFill>
                        <a:effectLst/>
                        <a:latin typeface="Arial" panose="020B0604020202020204" pitchFamily="34" charset="0"/>
                        <a:ea typeface="Calibri" panose="020F0502020204030204" charset="0"/>
                        <a:cs typeface="Arial" panose="020B0604020202020204" pitchFamily="34" charset="0"/>
                      </a:endParaRPr>
                    </a:p>
                  </a:txBody>
                  <a:tcPr marL="68580" marR="68580" marT="0" marB="0">
                    <a:solidFill>
                      <a:schemeClr val="accent2">
                        <a:lumMod val="20000"/>
                        <a:lumOff val="80000"/>
                      </a:schemeClr>
                    </a:solidFill>
                  </a:tcPr>
                </a:tc>
                <a:tc>
                  <a:txBody>
                    <a:bodyPr/>
                    <a:lstStyle/>
                    <a:p>
                      <a:pPr marL="0" marR="0" algn="just">
                        <a:lnSpc>
                          <a:spcPts val="7000"/>
                        </a:lnSpc>
                        <a:spcBef>
                          <a:spcPts val="0"/>
                        </a:spcBef>
                        <a:spcAft>
                          <a:spcPts val="0"/>
                        </a:spcAft>
                      </a:pPr>
                      <a:r>
                        <a:rPr lang="nl-NL" sz="4500" dirty="0">
                          <a:solidFill>
                            <a:srgbClr val="002060"/>
                          </a:solidFill>
                          <a:effectLst/>
                          <a:latin typeface="Arial" panose="020B0604020202020204" pitchFamily="34" charset="0"/>
                          <a:ea typeface="Calibri" panose="020F0502020204030204" charset="0"/>
                          <a:cs typeface="Arial" panose="020B0604020202020204" pitchFamily="34" charset="0"/>
                        </a:rPr>
                        <a:t>Khoảng thế kỉ VII TCN</a:t>
                      </a:r>
                      <a:endParaRPr lang="en-US" sz="4500" dirty="0">
                        <a:solidFill>
                          <a:srgbClr val="002060"/>
                        </a:solidFill>
                        <a:effectLst/>
                        <a:latin typeface="Arial" panose="020B0604020202020204" pitchFamily="34" charset="0"/>
                        <a:ea typeface="Calibri" panose="020F0502020204030204" charset="0"/>
                        <a:cs typeface="Arial" panose="020B0604020202020204" pitchFamily="34" charset="0"/>
                      </a:endParaRPr>
                    </a:p>
                  </a:txBody>
                  <a:tcPr marL="68580" marR="68580" marT="0" marB="0">
                    <a:solidFill>
                      <a:schemeClr val="accent2">
                        <a:lumMod val="20000"/>
                        <a:lumOff val="80000"/>
                      </a:schemeClr>
                    </a:solidFill>
                  </a:tcPr>
                </a:tc>
                <a:tc>
                  <a:txBody>
                    <a:bodyPr/>
                    <a:lstStyle/>
                    <a:p>
                      <a:pPr marL="0" marR="0" algn="just">
                        <a:lnSpc>
                          <a:spcPts val="7000"/>
                        </a:lnSpc>
                        <a:spcBef>
                          <a:spcPts val="0"/>
                        </a:spcBef>
                        <a:spcAft>
                          <a:spcPts val="0"/>
                        </a:spcAft>
                      </a:pPr>
                      <a:r>
                        <a:rPr lang="nl-NL" sz="4500" dirty="0">
                          <a:solidFill>
                            <a:srgbClr val="002060"/>
                          </a:solidFill>
                          <a:effectLst/>
                          <a:latin typeface="Arial" panose="020B0604020202020204" pitchFamily="34" charset="0"/>
                          <a:ea typeface="Calibri" panose="020F0502020204030204" charset="0"/>
                          <a:cs typeface="Arial" panose="020B0604020202020204" pitchFamily="34" charset="0"/>
                        </a:rPr>
                        <a:t>Khoảng thế kỉ III TCN</a:t>
                      </a:r>
                      <a:endParaRPr lang="en-US" sz="4500" dirty="0">
                        <a:solidFill>
                          <a:srgbClr val="002060"/>
                        </a:solidFill>
                        <a:effectLst/>
                        <a:latin typeface="Arial" panose="020B0604020202020204" pitchFamily="34" charset="0"/>
                        <a:ea typeface="Calibri" panose="020F0502020204030204" charset="0"/>
                        <a:cs typeface="Arial" panose="020B0604020202020204" pitchFamily="34" charset="0"/>
                      </a:endParaRPr>
                    </a:p>
                  </a:txBody>
                  <a:tcPr marL="68580" marR="68580" marT="0" marB="0">
                    <a:solidFill>
                      <a:schemeClr val="accent2">
                        <a:lumMod val="20000"/>
                        <a:lumOff val="80000"/>
                      </a:schemeClr>
                    </a:solidFill>
                  </a:tcPr>
                </a:tc>
              </a:tr>
              <a:tr h="370840">
                <a:tc>
                  <a:txBody>
                    <a:bodyPr/>
                    <a:lstStyle/>
                    <a:p>
                      <a:pPr marL="0" marR="0" algn="just">
                        <a:lnSpc>
                          <a:spcPts val="7000"/>
                        </a:lnSpc>
                        <a:spcBef>
                          <a:spcPts val="0"/>
                        </a:spcBef>
                        <a:spcAft>
                          <a:spcPts val="0"/>
                        </a:spcAft>
                      </a:pPr>
                      <a:r>
                        <a:rPr lang="nl-NL" sz="4500" dirty="0">
                          <a:solidFill>
                            <a:srgbClr val="002060"/>
                          </a:solidFill>
                          <a:effectLst/>
                          <a:latin typeface="Arial" panose="020B0604020202020204" pitchFamily="34" charset="0"/>
                          <a:ea typeface="Calibri" panose="020F0502020204030204" charset="0"/>
                          <a:cs typeface="Arial" panose="020B0604020202020204" pitchFamily="34" charset="0"/>
                        </a:rPr>
                        <a:t>Kinh đô</a:t>
                      </a:r>
                      <a:endParaRPr lang="en-US" sz="4500" dirty="0">
                        <a:solidFill>
                          <a:srgbClr val="002060"/>
                        </a:solidFill>
                        <a:effectLst/>
                        <a:latin typeface="Arial" panose="020B0604020202020204" pitchFamily="34" charset="0"/>
                        <a:ea typeface="Calibri" panose="020F0502020204030204" charset="0"/>
                        <a:cs typeface="Arial" panose="020B0604020202020204" pitchFamily="34" charset="0"/>
                      </a:endParaRPr>
                    </a:p>
                  </a:txBody>
                  <a:tcPr marL="68580" marR="68580" marT="0" marB="0">
                    <a:solidFill>
                      <a:schemeClr val="accent2">
                        <a:lumMod val="20000"/>
                        <a:lumOff val="80000"/>
                      </a:schemeClr>
                    </a:solidFill>
                  </a:tcPr>
                </a:tc>
                <a:tc>
                  <a:txBody>
                    <a:bodyPr/>
                    <a:lstStyle/>
                    <a:p>
                      <a:pPr marL="0" marR="0" algn="just">
                        <a:lnSpc>
                          <a:spcPts val="7000"/>
                        </a:lnSpc>
                        <a:spcBef>
                          <a:spcPts val="0"/>
                        </a:spcBef>
                        <a:spcAft>
                          <a:spcPts val="0"/>
                        </a:spcAft>
                      </a:pPr>
                      <a:r>
                        <a:rPr lang="nl-NL" sz="4500" dirty="0">
                          <a:solidFill>
                            <a:srgbClr val="002060"/>
                          </a:solidFill>
                          <a:effectLst/>
                          <a:latin typeface="Arial" panose="020B0604020202020204" pitchFamily="34" charset="0"/>
                          <a:ea typeface="Calibri" panose="020F0502020204030204" charset="0"/>
                          <a:cs typeface="Arial" panose="020B0604020202020204" pitchFamily="34" charset="0"/>
                        </a:rPr>
                        <a:t>Phong Châu (Phú Thọ ngày nay)</a:t>
                      </a:r>
                      <a:endParaRPr lang="en-US" sz="4500" dirty="0">
                        <a:solidFill>
                          <a:srgbClr val="002060"/>
                        </a:solidFill>
                        <a:effectLst/>
                        <a:latin typeface="Arial" panose="020B0604020202020204" pitchFamily="34" charset="0"/>
                        <a:ea typeface="Calibri" panose="020F0502020204030204" charset="0"/>
                        <a:cs typeface="Arial" panose="020B0604020202020204" pitchFamily="34" charset="0"/>
                      </a:endParaRPr>
                    </a:p>
                  </a:txBody>
                  <a:tcPr marL="68580" marR="68580" marT="0" marB="0">
                    <a:solidFill>
                      <a:schemeClr val="accent2">
                        <a:lumMod val="20000"/>
                        <a:lumOff val="80000"/>
                      </a:schemeClr>
                    </a:solidFill>
                  </a:tcPr>
                </a:tc>
                <a:tc>
                  <a:txBody>
                    <a:bodyPr/>
                    <a:lstStyle/>
                    <a:p>
                      <a:pPr marL="0" marR="0" algn="just">
                        <a:lnSpc>
                          <a:spcPts val="7000"/>
                        </a:lnSpc>
                        <a:spcBef>
                          <a:spcPts val="0"/>
                        </a:spcBef>
                        <a:spcAft>
                          <a:spcPts val="0"/>
                        </a:spcAft>
                      </a:pPr>
                      <a:r>
                        <a:rPr lang="nl-NL" sz="4500" dirty="0">
                          <a:solidFill>
                            <a:srgbClr val="002060"/>
                          </a:solidFill>
                          <a:effectLst/>
                          <a:latin typeface="Arial" panose="020B0604020202020204" pitchFamily="34" charset="0"/>
                          <a:ea typeface="Calibri" panose="020F0502020204030204" charset="0"/>
                          <a:cs typeface="Arial" panose="020B0604020202020204" pitchFamily="34" charset="0"/>
                        </a:rPr>
                        <a:t>Cổ Loa (Đông Anh, Hà Nội ngày nay)</a:t>
                      </a:r>
                      <a:endParaRPr lang="en-US" sz="4500" dirty="0">
                        <a:solidFill>
                          <a:srgbClr val="002060"/>
                        </a:solidFill>
                        <a:effectLst/>
                        <a:latin typeface="Arial" panose="020B0604020202020204" pitchFamily="34" charset="0"/>
                        <a:ea typeface="Calibri" panose="020F0502020204030204" charset="0"/>
                        <a:cs typeface="Arial" panose="020B0604020202020204" pitchFamily="34" charset="0"/>
                      </a:endParaRPr>
                    </a:p>
                  </a:txBody>
                  <a:tcPr marL="68580" marR="68580" marT="0" marB="0">
                    <a:solidFill>
                      <a:schemeClr val="accent2">
                        <a:lumMod val="20000"/>
                        <a:lumOff val="80000"/>
                      </a:schemeClr>
                    </a:solidFill>
                  </a:tcPr>
                </a:tc>
              </a:tr>
              <a:tr h="370840">
                <a:tc>
                  <a:txBody>
                    <a:bodyPr/>
                    <a:lstStyle/>
                    <a:p>
                      <a:pPr marL="0" marR="0" algn="just">
                        <a:lnSpc>
                          <a:spcPts val="7000"/>
                        </a:lnSpc>
                        <a:spcBef>
                          <a:spcPts val="0"/>
                        </a:spcBef>
                        <a:spcAft>
                          <a:spcPts val="0"/>
                        </a:spcAft>
                      </a:pPr>
                      <a:r>
                        <a:rPr lang="nl-NL" sz="4500">
                          <a:solidFill>
                            <a:srgbClr val="002060"/>
                          </a:solidFill>
                          <a:effectLst/>
                          <a:latin typeface="Arial" panose="020B0604020202020204" pitchFamily="34" charset="0"/>
                          <a:ea typeface="Calibri" panose="020F0502020204030204" charset="0"/>
                          <a:cs typeface="Arial" panose="020B0604020202020204" pitchFamily="34" charset="0"/>
                        </a:rPr>
                        <a:t>Tổ chức nhà nước</a:t>
                      </a:r>
                      <a:endParaRPr lang="en-US" sz="4500">
                        <a:solidFill>
                          <a:srgbClr val="002060"/>
                        </a:solidFill>
                        <a:effectLst/>
                        <a:latin typeface="Arial" panose="020B0604020202020204" pitchFamily="34" charset="0"/>
                        <a:ea typeface="Calibri" panose="020F0502020204030204" charset="0"/>
                        <a:cs typeface="Arial" panose="020B0604020202020204" pitchFamily="34" charset="0"/>
                      </a:endParaRPr>
                    </a:p>
                  </a:txBody>
                  <a:tcPr marL="68580" marR="68580" marT="0" marB="0">
                    <a:solidFill>
                      <a:schemeClr val="accent2">
                        <a:lumMod val="20000"/>
                        <a:lumOff val="80000"/>
                      </a:schemeClr>
                    </a:solidFill>
                  </a:tcPr>
                </a:tc>
                <a:tc>
                  <a:txBody>
                    <a:bodyPr/>
                    <a:lstStyle/>
                    <a:p>
                      <a:pPr marL="0" marR="0" algn="just">
                        <a:lnSpc>
                          <a:spcPts val="7000"/>
                        </a:lnSpc>
                        <a:spcBef>
                          <a:spcPts val="0"/>
                        </a:spcBef>
                        <a:spcAft>
                          <a:spcPts val="0"/>
                        </a:spcAft>
                      </a:pPr>
                      <a:r>
                        <a:rPr lang="nl-NL" sz="4500" dirty="0">
                          <a:solidFill>
                            <a:srgbClr val="002060"/>
                          </a:solidFill>
                          <a:effectLst/>
                          <a:latin typeface="Arial" panose="020B0604020202020204" pitchFamily="34" charset="0"/>
                          <a:ea typeface="Calibri" panose="020F0502020204030204" charset="0"/>
                          <a:cs typeface="Arial" panose="020B0604020202020204" pitchFamily="34" charset="0"/>
                        </a:rPr>
                        <a:t>Chia làm 15 bộ, dưới bộ là các chiềng, chạ </a:t>
                      </a:r>
                      <a:endParaRPr lang="en-US" sz="4500" dirty="0">
                        <a:solidFill>
                          <a:srgbClr val="002060"/>
                        </a:solidFill>
                        <a:effectLst/>
                        <a:latin typeface="Arial" panose="020B0604020202020204" pitchFamily="34" charset="0"/>
                        <a:ea typeface="Calibri" panose="020F0502020204030204" charset="0"/>
                        <a:cs typeface="Arial" panose="020B0604020202020204" pitchFamily="34" charset="0"/>
                      </a:endParaRPr>
                    </a:p>
                  </a:txBody>
                  <a:tcPr marL="68580" marR="68580" marT="0" marB="0">
                    <a:solidFill>
                      <a:schemeClr val="accent2">
                        <a:lumMod val="20000"/>
                        <a:lumOff val="80000"/>
                      </a:schemeClr>
                    </a:solidFill>
                  </a:tcPr>
                </a:tc>
                <a:tc>
                  <a:txBody>
                    <a:bodyPr/>
                    <a:lstStyle/>
                    <a:p>
                      <a:pPr marL="0" marR="0" algn="just">
                        <a:lnSpc>
                          <a:spcPts val="7000"/>
                        </a:lnSpc>
                        <a:spcBef>
                          <a:spcPts val="0"/>
                        </a:spcBef>
                        <a:spcAft>
                          <a:spcPts val="0"/>
                        </a:spcAft>
                      </a:pPr>
                      <a:r>
                        <a:rPr lang="fr-FR" sz="4500" dirty="0">
                          <a:solidFill>
                            <a:srgbClr val="002060"/>
                          </a:solidFill>
                          <a:effectLst/>
                          <a:latin typeface="Arial" panose="020B0604020202020204" pitchFamily="34" charset="0"/>
                          <a:ea typeface="Calibri" panose="020F0502020204030204" charset="0"/>
                          <a:cs typeface="Arial" panose="020B0604020202020204" pitchFamily="34" charset="0"/>
                        </a:rPr>
                        <a:t>Vua nắm mọi quyền hành trong việc trị nước, có quân đội và vũ khí tốt hơn.</a:t>
                      </a:r>
                      <a:endParaRPr lang="en-US" sz="4500" dirty="0">
                        <a:solidFill>
                          <a:srgbClr val="002060"/>
                        </a:solidFill>
                        <a:effectLst/>
                        <a:latin typeface="Arial" panose="020B0604020202020204" pitchFamily="34" charset="0"/>
                        <a:ea typeface="Calibri" panose="020F0502020204030204" charset="0"/>
                        <a:cs typeface="Arial" panose="020B0604020202020204" pitchFamily="34" charset="0"/>
                      </a:endParaRPr>
                    </a:p>
                  </a:txBody>
                  <a:tcPr marL="68580" marR="68580" marT="0" marB="0">
                    <a:solidFill>
                      <a:schemeClr val="accent2">
                        <a:lumMod val="20000"/>
                        <a:lumOff val="80000"/>
                      </a:schemeClr>
                    </a:solidFill>
                  </a:tcPr>
                </a:tc>
              </a:tr>
            </a:tbl>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heel(1)">
                                      <p:cBhvr>
                                        <p:cTn id="12"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FAF1D9"/>
        </a:solidFill>
        <a:effectLst/>
      </p:bgPr>
    </p:bg>
    <p:spTree>
      <p:nvGrpSpPr>
        <p:cNvPr id="1" name=""/>
        <p:cNvGrpSpPr/>
        <p:nvPr/>
      </p:nvGrpSpPr>
      <p:grpSpPr>
        <a:xfrm>
          <a:off x="0" y="0"/>
          <a:ext cx="0" cy="0"/>
          <a:chOff x="0" y="0"/>
          <a:chExt cx="0" cy="0"/>
        </a:xfrm>
      </p:grpSpPr>
      <p:sp>
        <p:nvSpPr>
          <p:cNvPr id="2" name="TextBox 2"/>
          <p:cNvSpPr txBox="1"/>
          <p:nvPr/>
        </p:nvSpPr>
        <p:spPr>
          <a:xfrm>
            <a:off x="1" y="999657"/>
            <a:ext cx="18287999" cy="1127360"/>
          </a:xfrm>
          <a:prstGeom prst="rect">
            <a:avLst/>
          </a:prstGeom>
        </p:spPr>
        <p:txBody>
          <a:bodyPr wrap="square" lIns="0" tIns="0" rIns="0" bIns="0" rtlCol="0" anchor="t">
            <a:spAutoFit/>
          </a:bodyPr>
          <a:lstStyle/>
          <a:p>
            <a:pPr marL="0" lvl="0" indent="0" algn="ctr">
              <a:lnSpc>
                <a:spcPts val="9900"/>
              </a:lnSpc>
            </a:pPr>
            <a:r>
              <a:rPr lang="en-US" sz="6000" b="1" dirty="0" smtClean="0">
                <a:solidFill>
                  <a:srgbClr val="5F3329"/>
                </a:solidFill>
                <a:latin typeface="Arial" panose="020B0604020202020204" pitchFamily="34" charset="0"/>
                <a:cs typeface="Arial" panose="020B0604020202020204" pitchFamily="34" charset="0"/>
              </a:rPr>
              <a:t>HƯỚNG DẪN VỀ NHÀ</a:t>
            </a:r>
            <a:endParaRPr lang="en-US" sz="6000" b="1" dirty="0">
              <a:solidFill>
                <a:srgbClr val="5F3329"/>
              </a:solidFill>
              <a:latin typeface="Arial" panose="020B0604020202020204" pitchFamily="34" charset="0"/>
              <a:cs typeface="Arial" panose="020B0604020202020204" pitchFamily="34" charset="0"/>
            </a:endParaRPr>
          </a:p>
        </p:txBody>
      </p:sp>
      <p:pic>
        <p:nvPicPr>
          <p:cNvPr id="3" name="Picture 3"/>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rot="5400000">
            <a:off x="2132322" y="5790197"/>
            <a:ext cx="1144029" cy="1567164"/>
          </a:xfrm>
          <a:prstGeom prst="rect">
            <a:avLst/>
          </a:prstGeom>
        </p:spPr>
      </p:pic>
      <p:grpSp>
        <p:nvGrpSpPr>
          <p:cNvPr id="4" name="Group 4"/>
          <p:cNvGrpSpPr/>
          <p:nvPr/>
        </p:nvGrpSpPr>
        <p:grpSpPr>
          <a:xfrm>
            <a:off x="3048604" y="5284872"/>
            <a:ext cx="1895468" cy="2063816"/>
            <a:chOff x="1371724" y="0"/>
            <a:chExt cx="2527291" cy="2751754"/>
          </a:xfrm>
        </p:grpSpPr>
        <p:pic>
          <p:nvPicPr>
            <p:cNvPr id="7" name="Picture 7"/>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rot="-10800000">
              <a:off x="1371724" y="0"/>
              <a:ext cx="2527291" cy="2751754"/>
            </a:xfrm>
            <a:prstGeom prst="rect">
              <a:avLst/>
            </a:prstGeom>
          </p:spPr>
        </p:pic>
        <p:sp>
          <p:nvSpPr>
            <p:cNvPr id="8" name="TextBox 8"/>
            <p:cNvSpPr txBox="1"/>
            <p:nvPr/>
          </p:nvSpPr>
          <p:spPr>
            <a:xfrm>
              <a:off x="1854679" y="787968"/>
              <a:ext cx="1187570" cy="1156768"/>
            </a:xfrm>
            <a:prstGeom prst="rect">
              <a:avLst/>
            </a:prstGeom>
          </p:spPr>
          <p:txBody>
            <a:bodyPr lIns="0" tIns="0" rIns="0" bIns="0" rtlCol="0" anchor="t">
              <a:spAutoFit/>
            </a:bodyPr>
            <a:lstStyle/>
            <a:p>
              <a:pPr marL="0" lvl="0" indent="0" algn="ctr">
                <a:lnSpc>
                  <a:spcPts val="6600"/>
                </a:lnSpc>
              </a:pPr>
              <a:r>
                <a:rPr lang="en-US" sz="6000" dirty="0" smtClean="0">
                  <a:solidFill>
                    <a:srgbClr val="FAF1D9"/>
                  </a:solidFill>
                  <a:latin typeface="Bryndan Write" panose="02000503000000000000"/>
                </a:rPr>
                <a:t>2</a:t>
              </a:r>
              <a:endParaRPr lang="en-US" sz="6000" dirty="0">
                <a:solidFill>
                  <a:srgbClr val="FAF1D9"/>
                </a:solidFill>
                <a:latin typeface="Bryndan Write" panose="02000503000000000000"/>
              </a:endParaRPr>
            </a:p>
          </p:txBody>
        </p:sp>
      </p:grpSp>
      <p:pic>
        <p:nvPicPr>
          <p:cNvPr id="9" name="Picture 9"/>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rot="5400000">
            <a:off x="4167991" y="8325627"/>
            <a:ext cx="1144029" cy="1567164"/>
          </a:xfrm>
          <a:prstGeom prst="rect">
            <a:avLst/>
          </a:prstGeom>
        </p:spPr>
      </p:pic>
      <p:grpSp>
        <p:nvGrpSpPr>
          <p:cNvPr id="10" name="Group 10"/>
          <p:cNvGrpSpPr/>
          <p:nvPr/>
        </p:nvGrpSpPr>
        <p:grpSpPr>
          <a:xfrm>
            <a:off x="2986918" y="7911039"/>
            <a:ext cx="1895468" cy="2063815"/>
            <a:chOff x="1371724" y="0"/>
            <a:chExt cx="2527291" cy="2751754"/>
          </a:xfrm>
        </p:grpSpPr>
        <p:pic>
          <p:nvPicPr>
            <p:cNvPr id="13" name="Picture 13"/>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371724" y="0"/>
              <a:ext cx="2527291" cy="2751754"/>
            </a:xfrm>
            <a:prstGeom prst="rect">
              <a:avLst/>
            </a:prstGeom>
          </p:spPr>
        </p:pic>
        <p:sp>
          <p:nvSpPr>
            <p:cNvPr id="14" name="TextBox 14"/>
            <p:cNvSpPr txBox="1"/>
            <p:nvPr/>
          </p:nvSpPr>
          <p:spPr>
            <a:xfrm>
              <a:off x="1854679" y="787968"/>
              <a:ext cx="1187570" cy="1156768"/>
            </a:xfrm>
            <a:prstGeom prst="rect">
              <a:avLst/>
            </a:prstGeom>
          </p:spPr>
          <p:txBody>
            <a:bodyPr lIns="0" tIns="0" rIns="0" bIns="0" rtlCol="0" anchor="t">
              <a:spAutoFit/>
            </a:bodyPr>
            <a:lstStyle/>
            <a:p>
              <a:pPr marL="0" lvl="0" indent="0" algn="ctr">
                <a:lnSpc>
                  <a:spcPts val="6600"/>
                </a:lnSpc>
              </a:pPr>
              <a:r>
                <a:rPr lang="en-US" sz="6000" dirty="0" smtClean="0">
                  <a:solidFill>
                    <a:srgbClr val="FAF1D9"/>
                  </a:solidFill>
                  <a:latin typeface="Bryndan Write" panose="02000503000000000000"/>
                </a:rPr>
                <a:t>3</a:t>
              </a:r>
              <a:endParaRPr lang="en-US" sz="6000" dirty="0">
                <a:solidFill>
                  <a:srgbClr val="FAF1D9"/>
                </a:solidFill>
                <a:latin typeface="Bryndan Write" panose="02000503000000000000"/>
              </a:endParaRPr>
            </a:p>
          </p:txBody>
        </p:sp>
      </p:grpSp>
      <p:sp>
        <p:nvSpPr>
          <p:cNvPr id="21" name="TextBox 2"/>
          <p:cNvSpPr txBox="1"/>
          <p:nvPr/>
        </p:nvSpPr>
        <p:spPr>
          <a:xfrm>
            <a:off x="6030685" y="5753100"/>
            <a:ext cx="12228286" cy="1269578"/>
          </a:xfrm>
          <a:prstGeom prst="rect">
            <a:avLst/>
          </a:prstGeom>
        </p:spPr>
        <p:txBody>
          <a:bodyPr wrap="square" lIns="0" tIns="0" rIns="0" bIns="0" rtlCol="0" anchor="t">
            <a:spAutoFit/>
          </a:bodyPr>
          <a:lstStyle/>
          <a:p>
            <a:pPr marL="0" lvl="0" indent="0" algn="just">
              <a:lnSpc>
                <a:spcPts val="9900"/>
              </a:lnSpc>
            </a:pPr>
            <a:r>
              <a:rPr lang="en-US" sz="5000" dirty="0" smtClean="0">
                <a:solidFill>
                  <a:srgbClr val="5F3329"/>
                </a:solidFill>
                <a:latin typeface="Arial" panose="020B0604020202020204" pitchFamily="34" charset="0"/>
                <a:cs typeface="Arial" panose="020B0604020202020204" pitchFamily="34" charset="0"/>
              </a:rPr>
              <a:t>Làm bài tập Bài 14, Sách bài tập</a:t>
            </a:r>
            <a:endParaRPr lang="en-US" sz="5000" dirty="0">
              <a:solidFill>
                <a:srgbClr val="5F3329"/>
              </a:solidFill>
              <a:latin typeface="Arial" panose="020B0604020202020204" pitchFamily="34" charset="0"/>
              <a:cs typeface="Arial" panose="020B0604020202020204" pitchFamily="34" charset="0"/>
            </a:endParaRPr>
          </a:p>
        </p:txBody>
      </p:sp>
      <p:sp>
        <p:nvSpPr>
          <p:cNvPr id="22" name="TextBox 2"/>
          <p:cNvSpPr txBox="1"/>
          <p:nvPr/>
        </p:nvSpPr>
        <p:spPr>
          <a:xfrm>
            <a:off x="6030685" y="8224899"/>
            <a:ext cx="9448800" cy="1098121"/>
          </a:xfrm>
          <a:prstGeom prst="rect">
            <a:avLst/>
          </a:prstGeom>
        </p:spPr>
        <p:txBody>
          <a:bodyPr wrap="square" lIns="0" tIns="0" rIns="0" bIns="0" rtlCol="0" anchor="t">
            <a:spAutoFit/>
          </a:bodyPr>
          <a:lstStyle/>
          <a:p>
            <a:pPr marL="0" lvl="0" indent="0" algn="just">
              <a:lnSpc>
                <a:spcPts val="9900"/>
              </a:lnSpc>
            </a:pPr>
            <a:r>
              <a:rPr lang="en-US" sz="5000" dirty="0" smtClean="0">
                <a:solidFill>
                  <a:srgbClr val="5F3329"/>
                </a:solidFill>
                <a:latin typeface="Arial" panose="020B0604020202020204" pitchFamily="34" charset="0"/>
                <a:cs typeface="Arial" panose="020B0604020202020204" pitchFamily="34" charset="0"/>
              </a:rPr>
              <a:t>Đọc trước Bài 15, SGK trang 65</a:t>
            </a:r>
            <a:endParaRPr lang="en-US" sz="5000" dirty="0">
              <a:solidFill>
                <a:srgbClr val="5F3329"/>
              </a:solidFill>
              <a:latin typeface="Arial" panose="020B0604020202020204" pitchFamily="34" charset="0"/>
              <a:cs typeface="Arial" panose="020B0604020202020204" pitchFamily="34" charset="0"/>
            </a:endParaRPr>
          </a:p>
        </p:txBody>
      </p:sp>
      <p:grpSp>
        <p:nvGrpSpPr>
          <p:cNvPr id="15" name="Group 10"/>
          <p:cNvGrpSpPr/>
          <p:nvPr/>
        </p:nvGrpSpPr>
        <p:grpSpPr>
          <a:xfrm>
            <a:off x="3012318" y="2702879"/>
            <a:ext cx="1895468" cy="2063815"/>
            <a:chOff x="1371724" y="0"/>
            <a:chExt cx="2527291" cy="2751754"/>
          </a:xfrm>
        </p:grpSpPr>
        <p:pic>
          <p:nvPicPr>
            <p:cNvPr id="16" name="Picture 13"/>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371724" y="0"/>
              <a:ext cx="2527291" cy="2751754"/>
            </a:xfrm>
            <a:prstGeom prst="rect">
              <a:avLst/>
            </a:prstGeom>
          </p:spPr>
        </p:pic>
        <p:sp>
          <p:nvSpPr>
            <p:cNvPr id="17" name="TextBox 14"/>
            <p:cNvSpPr txBox="1"/>
            <p:nvPr/>
          </p:nvSpPr>
          <p:spPr>
            <a:xfrm>
              <a:off x="1854679" y="787968"/>
              <a:ext cx="1187570" cy="1156768"/>
            </a:xfrm>
            <a:prstGeom prst="rect">
              <a:avLst/>
            </a:prstGeom>
          </p:spPr>
          <p:txBody>
            <a:bodyPr lIns="0" tIns="0" rIns="0" bIns="0" rtlCol="0" anchor="t">
              <a:spAutoFit/>
            </a:bodyPr>
            <a:lstStyle/>
            <a:p>
              <a:pPr marL="0" lvl="0" indent="0" algn="ctr">
                <a:lnSpc>
                  <a:spcPts val="6600"/>
                </a:lnSpc>
              </a:pPr>
              <a:r>
                <a:rPr lang="en-US" sz="6000" dirty="0" smtClean="0">
                  <a:solidFill>
                    <a:srgbClr val="FAF1D9"/>
                  </a:solidFill>
                  <a:latin typeface="Bryndan Write" panose="02000503000000000000"/>
                </a:rPr>
                <a:t>1</a:t>
              </a:r>
              <a:endParaRPr lang="en-US" sz="6000" dirty="0">
                <a:solidFill>
                  <a:srgbClr val="FAF1D9"/>
                </a:solidFill>
                <a:latin typeface="Bryndan Write" panose="02000503000000000000"/>
              </a:endParaRPr>
            </a:p>
          </p:txBody>
        </p:sp>
      </p:grpSp>
      <p:sp>
        <p:nvSpPr>
          <p:cNvPr id="18" name="TextBox 2"/>
          <p:cNvSpPr txBox="1"/>
          <p:nvPr/>
        </p:nvSpPr>
        <p:spPr>
          <a:xfrm>
            <a:off x="6056085" y="3016739"/>
            <a:ext cx="9448800" cy="1098121"/>
          </a:xfrm>
          <a:prstGeom prst="rect">
            <a:avLst/>
          </a:prstGeom>
        </p:spPr>
        <p:txBody>
          <a:bodyPr wrap="square" lIns="0" tIns="0" rIns="0" bIns="0" rtlCol="0" anchor="t">
            <a:spAutoFit/>
          </a:bodyPr>
          <a:lstStyle/>
          <a:p>
            <a:pPr marL="0" lvl="0" indent="0" algn="just">
              <a:lnSpc>
                <a:spcPts val="9900"/>
              </a:lnSpc>
            </a:pPr>
            <a:r>
              <a:rPr lang="en-US" sz="5000" dirty="0" smtClean="0">
                <a:solidFill>
                  <a:srgbClr val="5F3329"/>
                </a:solidFill>
                <a:latin typeface="Arial" panose="020B0604020202020204" pitchFamily="34" charset="0"/>
                <a:cs typeface="Arial" panose="020B0604020202020204" pitchFamily="34" charset="0"/>
              </a:rPr>
              <a:t>Trả lời câu 1, 2, 3, SGK trang 64</a:t>
            </a:r>
            <a:endParaRPr lang="en-US" sz="5000" dirty="0">
              <a:solidFill>
                <a:srgbClr val="5F3329"/>
              </a:solidFill>
              <a:latin typeface="Arial" panose="020B0604020202020204" pitchFamily="34" charset="0"/>
              <a:cs typeface="Arial" panose="020B0604020202020204" pitchFamily="34" charset="0"/>
            </a:endParaRPr>
          </a:p>
        </p:txBody>
      </p:sp>
      <p:pic>
        <p:nvPicPr>
          <p:cNvPr id="19" name="Picture 9"/>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rot="5400000">
            <a:off x="4476779" y="2886584"/>
            <a:ext cx="1144029" cy="1567164"/>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barn(inVertical)">
                                      <p:cBhvr>
                                        <p:cTn id="12" dur="500"/>
                                        <p:tgtEl>
                                          <p:spTgt spid="15"/>
                                        </p:tgtEl>
                                      </p:cBhvr>
                                    </p:animEffect>
                                  </p:childTnLst>
                                </p:cTn>
                              </p:par>
                              <p:par>
                                <p:cTn id="13" presetID="16" presetClass="entr" presetSubtype="21"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barn(inVertical)">
                                      <p:cBhvr>
                                        <p:cTn id="15" dur="500"/>
                                        <p:tgtEl>
                                          <p:spTgt spid="19"/>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barn(inVertical)">
                                      <p:cBhvr>
                                        <p:cTn id="18" dur="5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16" presetClass="entr" presetSubtype="21" fill="hold"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barn(inVertical)">
                                      <p:cBhvr>
                                        <p:cTn id="23" dur="500"/>
                                        <p:tgtEl>
                                          <p:spTgt spid="4"/>
                                        </p:tgtEl>
                                      </p:cBhvr>
                                    </p:animEffect>
                                  </p:childTnLst>
                                </p:cTn>
                              </p:par>
                              <p:par>
                                <p:cTn id="24" presetID="16" presetClass="entr" presetSubtype="21" fill="hold"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barn(inVertical)">
                                      <p:cBhvr>
                                        <p:cTn id="26" dur="500"/>
                                        <p:tgtEl>
                                          <p:spTgt spid="3"/>
                                        </p:tgtEl>
                                      </p:cBhvr>
                                    </p:animEffect>
                                  </p:childTnLst>
                                </p:cTn>
                              </p:par>
                              <p:par>
                                <p:cTn id="27" presetID="16" presetClass="entr" presetSubtype="21" fill="hold" grpId="0" nodeType="with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barn(inVertical)">
                                      <p:cBhvr>
                                        <p:cTn id="29" dur="500"/>
                                        <p:tgtEl>
                                          <p:spTgt spid="21"/>
                                        </p:tgtEl>
                                      </p:cBhvr>
                                    </p:animEffect>
                                  </p:childTnLst>
                                </p:cTn>
                              </p:par>
                            </p:childTnLst>
                          </p:cTn>
                        </p:par>
                      </p:childTnLst>
                    </p:cTn>
                  </p:par>
                  <p:par>
                    <p:cTn id="30" fill="hold">
                      <p:stCondLst>
                        <p:cond delay="indefinite"/>
                      </p:stCondLst>
                      <p:childTnLst>
                        <p:par>
                          <p:cTn id="31" fill="hold">
                            <p:stCondLst>
                              <p:cond delay="0"/>
                            </p:stCondLst>
                            <p:childTnLst>
                              <p:par>
                                <p:cTn id="32" presetID="16" presetClass="entr" presetSubtype="21" fill="hold" nodeType="click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barn(inVertical)">
                                      <p:cBhvr>
                                        <p:cTn id="34" dur="500"/>
                                        <p:tgtEl>
                                          <p:spTgt spid="10"/>
                                        </p:tgtEl>
                                      </p:cBhvr>
                                    </p:animEffect>
                                  </p:childTnLst>
                                </p:cTn>
                              </p:par>
                              <p:par>
                                <p:cTn id="35" presetID="16" presetClass="entr" presetSubtype="21" fill="hold" nodeType="with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barn(inVertical)">
                                      <p:cBhvr>
                                        <p:cTn id="37" dur="500"/>
                                        <p:tgtEl>
                                          <p:spTgt spid="9"/>
                                        </p:tgtEl>
                                      </p:cBhvr>
                                    </p:animEffect>
                                  </p:childTnLst>
                                </p:cTn>
                              </p:par>
                              <p:par>
                                <p:cTn id="38" presetID="16" presetClass="entr" presetSubtype="21" fill="hold" grpId="0" nodeType="withEffect">
                                  <p:stCondLst>
                                    <p:cond delay="0"/>
                                  </p:stCondLst>
                                  <p:childTnLst>
                                    <p:set>
                                      <p:cBhvr>
                                        <p:cTn id="39" dur="1" fill="hold">
                                          <p:stCondLst>
                                            <p:cond delay="0"/>
                                          </p:stCondLst>
                                        </p:cTn>
                                        <p:tgtEl>
                                          <p:spTgt spid="22"/>
                                        </p:tgtEl>
                                        <p:attrNameLst>
                                          <p:attrName>style.visibility</p:attrName>
                                        </p:attrNameLst>
                                      </p:cBhvr>
                                      <p:to>
                                        <p:strVal val="visible"/>
                                      </p:to>
                                    </p:set>
                                    <p:animEffect transition="in" filter="barn(inVertical)">
                                      <p:cBhvr>
                                        <p:cTn id="4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1" grpId="0"/>
      <p:bldP spid="22" grpId="0"/>
      <p:bldP spid="18" grpId="0"/>
    </p:bld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E5CE4B"/>
        </a:solidFill>
        <a:effectLst/>
      </p:bgPr>
    </p:bg>
    <p:spTree>
      <p:nvGrpSpPr>
        <p:cNvPr id="1" name=""/>
        <p:cNvGrpSpPr/>
        <p:nvPr/>
      </p:nvGrpSpPr>
      <p:grpSpPr>
        <a:xfrm>
          <a:off x="0" y="0"/>
          <a:ext cx="0" cy="0"/>
          <a:chOff x="0" y="0"/>
          <a:chExt cx="0" cy="0"/>
        </a:xfrm>
      </p:grpSpPr>
      <p:sp>
        <p:nvSpPr>
          <p:cNvPr id="2" name="AutoShape 2"/>
          <p:cNvSpPr/>
          <p:nvPr/>
        </p:nvSpPr>
        <p:spPr>
          <a:xfrm>
            <a:off x="455209" y="495300"/>
            <a:ext cx="17377583" cy="9312861"/>
          </a:xfrm>
          <a:prstGeom prst="rect">
            <a:avLst/>
          </a:prstGeom>
          <a:solidFill>
            <a:srgbClr val="F5FBF6"/>
          </a:solidFill>
        </p:spPr>
      </p:sp>
      <p:sp>
        <p:nvSpPr>
          <p:cNvPr id="4" name="TextBox 4"/>
          <p:cNvSpPr txBox="1"/>
          <p:nvPr/>
        </p:nvSpPr>
        <p:spPr>
          <a:xfrm>
            <a:off x="455209" y="2845406"/>
            <a:ext cx="17377583" cy="2308324"/>
          </a:xfrm>
          <a:prstGeom prst="rect">
            <a:avLst/>
          </a:prstGeom>
        </p:spPr>
        <p:txBody>
          <a:bodyPr wrap="square" lIns="0" tIns="0" rIns="0" bIns="0" rtlCol="0" anchor="t">
            <a:spAutoFit/>
          </a:bodyPr>
          <a:lstStyle/>
          <a:p>
            <a:pPr algn="ctr">
              <a:lnSpc>
                <a:spcPts val="9000"/>
              </a:lnSpc>
            </a:pPr>
            <a:r>
              <a:rPr lang="en-US" sz="7000" b="1" spc="634" dirty="0" smtClean="0">
                <a:solidFill>
                  <a:srgbClr val="E5CE4B"/>
                </a:solidFill>
                <a:latin typeface="Arial" panose="020B0604020202020204" pitchFamily="34" charset="0"/>
                <a:cs typeface="Arial" panose="020B0604020202020204" pitchFamily="34" charset="0"/>
              </a:rPr>
              <a:t>CẢM ƠN CÁC EM</a:t>
            </a:r>
            <a:endParaRPr lang="en-US" sz="7000" b="1" spc="634" dirty="0" smtClean="0">
              <a:solidFill>
                <a:srgbClr val="E5CE4B"/>
              </a:solidFill>
              <a:latin typeface="Arial" panose="020B0604020202020204" pitchFamily="34" charset="0"/>
              <a:cs typeface="Arial" panose="020B0604020202020204" pitchFamily="34" charset="0"/>
            </a:endParaRPr>
          </a:p>
          <a:p>
            <a:pPr algn="ctr">
              <a:lnSpc>
                <a:spcPts val="9000"/>
              </a:lnSpc>
            </a:pPr>
            <a:r>
              <a:rPr lang="en-US" sz="7000" b="1" spc="634" smtClean="0">
                <a:solidFill>
                  <a:srgbClr val="E5CE4B"/>
                </a:solidFill>
                <a:latin typeface="Arial" panose="020B0604020202020204" pitchFamily="34" charset="0"/>
                <a:cs typeface="Arial" panose="020B0604020202020204" pitchFamily="34" charset="0"/>
              </a:rPr>
              <a:t>ĐÃ LẮNG NGHE BÀI GIẢNG!</a:t>
            </a:r>
            <a:endParaRPr lang="en-US" sz="7000" b="1" spc="634" dirty="0">
              <a:solidFill>
                <a:srgbClr val="E5CE4B"/>
              </a:solidFill>
              <a:latin typeface="Arial" panose="020B0604020202020204" pitchFamily="34" charset="0"/>
              <a:cs typeface="Arial" panose="020B0604020202020204" pitchFamily="34" charset="0"/>
            </a:endParaRPr>
          </a:p>
        </p:txBody>
      </p:sp>
      <p:pic>
        <p:nvPicPr>
          <p:cNvPr id="8" name="Picture 8"/>
          <p:cNvPicPr>
            <a:picLocks noChangeAspect="1"/>
          </p:cNvPicPr>
          <p:nvPr/>
        </p:nvPicPr>
        <p:blipFill>
          <a:blip/>
          <a:srcRect/>
          <a:stretch>
            <a:fillRect/>
          </a:stretch>
        </p:blipFill>
        <p:spPr>
          <a:xfrm rot="-8465734">
            <a:off x="15468658" y="-1317512"/>
            <a:ext cx="3369859" cy="4587679"/>
          </a:xfrm>
          <a:prstGeom prst="rect">
            <a:avLst/>
          </a:prstGeom>
        </p:spPr>
      </p:pic>
      <p:pic>
        <p:nvPicPr>
          <p:cNvPr id="9" name="Picture 8"/>
          <p:cNvPicPr>
            <a:picLocks noChangeAspect="1"/>
          </p:cNvPicPr>
          <p:nvPr/>
        </p:nvPicPr>
        <p:blipFill>
          <a:blip/>
          <a:srcRect/>
          <a:stretch>
            <a:fillRect/>
          </a:stretch>
        </p:blipFill>
        <p:spPr>
          <a:xfrm rot="-2781173">
            <a:off x="558481" y="6048675"/>
            <a:ext cx="3140130" cy="4151614"/>
          </a:xfrm>
          <a:prstGeom prst="rect">
            <a:avLst/>
          </a:prstGeom>
        </p:spPr>
      </p:pic>
      <p:pic>
        <p:nvPicPr>
          <p:cNvPr id="11" name="Picture 23"/>
          <p:cNvPicPr>
            <a:picLocks noChangeAspect="1"/>
          </p:cNvPicPr>
          <p:nvPr/>
        </p:nvPicPr>
        <p:blipFill>
          <a:blip/>
          <a:srcRect/>
          <a:stretch>
            <a:fillRect/>
          </a:stretch>
        </p:blipFill>
        <p:spPr>
          <a:xfrm>
            <a:off x="4714292" y="5116712"/>
            <a:ext cx="9086373" cy="3441463"/>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31" presetClass="entr" presetSubtype="0" fill="hold" nodeType="clickEffect">
                                  <p:stCondLst>
                                    <p:cond delay="0"/>
                                  </p:stCondLst>
                                  <p:childTnLst>
                                    <p:set>
                                      <p:cBhvr>
                                        <p:cTn id="13" dur="1" fill="hold">
                                          <p:stCondLst>
                                            <p:cond delay="0"/>
                                          </p:stCondLst>
                                        </p:cTn>
                                        <p:tgtEl>
                                          <p:spTgt spid="11"/>
                                        </p:tgtEl>
                                        <p:attrNameLst>
                                          <p:attrName>style.visibility</p:attrName>
                                        </p:attrNameLst>
                                      </p:cBhvr>
                                      <p:to>
                                        <p:strVal val="visible"/>
                                      </p:to>
                                    </p:set>
                                    <p:anim calcmode="lin" valueType="num">
                                      <p:cBhvr>
                                        <p:cTn id="14" dur="1000" fill="hold"/>
                                        <p:tgtEl>
                                          <p:spTgt spid="11"/>
                                        </p:tgtEl>
                                        <p:attrNameLst>
                                          <p:attrName>ppt_w</p:attrName>
                                        </p:attrNameLst>
                                      </p:cBhvr>
                                      <p:tavLst>
                                        <p:tav tm="0">
                                          <p:val>
                                            <p:fltVal val="0"/>
                                          </p:val>
                                        </p:tav>
                                        <p:tav tm="100000">
                                          <p:val>
                                            <p:strVal val="#ppt_w"/>
                                          </p:val>
                                        </p:tav>
                                      </p:tavLst>
                                    </p:anim>
                                    <p:anim calcmode="lin" valueType="num">
                                      <p:cBhvr>
                                        <p:cTn id="15" dur="1000" fill="hold"/>
                                        <p:tgtEl>
                                          <p:spTgt spid="11"/>
                                        </p:tgtEl>
                                        <p:attrNameLst>
                                          <p:attrName>ppt_h</p:attrName>
                                        </p:attrNameLst>
                                      </p:cBhvr>
                                      <p:tavLst>
                                        <p:tav tm="0">
                                          <p:val>
                                            <p:fltVal val="0"/>
                                          </p:val>
                                        </p:tav>
                                        <p:tav tm="100000">
                                          <p:val>
                                            <p:strVal val="#ppt_h"/>
                                          </p:val>
                                        </p:tav>
                                      </p:tavLst>
                                    </p:anim>
                                    <p:anim calcmode="lin" valueType="num">
                                      <p:cBhvr>
                                        <p:cTn id="16" dur="1000" fill="hold"/>
                                        <p:tgtEl>
                                          <p:spTgt spid="11"/>
                                        </p:tgtEl>
                                        <p:attrNameLst>
                                          <p:attrName>style.rotation</p:attrName>
                                        </p:attrNameLst>
                                      </p:cBhvr>
                                      <p:tavLst>
                                        <p:tav tm="0">
                                          <p:val>
                                            <p:fltVal val="90"/>
                                          </p:val>
                                        </p:tav>
                                        <p:tav tm="100000">
                                          <p:val>
                                            <p:fltVal val="0"/>
                                          </p:val>
                                        </p:tav>
                                      </p:tavLst>
                                    </p:anim>
                                    <p:animEffect transition="in" filter="fade">
                                      <p:cBhvr>
                                        <p:cTn id="17"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rotWithShape="1">
          <a:blip r:embed="rId1"/>
          <a:stretch>
            <a:fillRect/>
          </a:stretch>
        </a:blipFill>
        <a:effectLst/>
      </p:bgPr>
    </p:bg>
    <p:spTree>
      <p:nvGrpSpPr>
        <p:cNvPr id="1" name=""/>
        <p:cNvGrpSpPr/>
        <p:nvPr/>
      </p:nvGrpSpPr>
      <p:grpSpPr>
        <a:xfrm>
          <a:off x="0" y="0"/>
          <a:ext cx="0" cy="0"/>
          <a:chOff x="0" y="0"/>
          <a:chExt cx="0" cy="0"/>
        </a:xfrm>
      </p:grpSpPr>
      <p:sp>
        <p:nvSpPr>
          <p:cNvPr id="14" name="Rectangle 13"/>
          <p:cNvSpPr/>
          <p:nvPr/>
        </p:nvSpPr>
        <p:spPr>
          <a:xfrm>
            <a:off x="4222835" y="2249360"/>
            <a:ext cx="10506456" cy="6995160"/>
          </a:xfrm>
          <a:prstGeom prst="rect">
            <a:avLst/>
          </a:prstGeom>
          <a:blipFill>
            <a:blip r:embed="rId2"/>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latin typeface="Times New Roman" panose="02020603050405020304" pitchFamily="18" charset="0"/>
              <a:cs typeface="Times New Roman" panose="02020603050405020304" pitchFamily="18" charset="0"/>
            </a:endParaRPr>
          </a:p>
        </p:txBody>
      </p:sp>
      <p:sp>
        <p:nvSpPr>
          <p:cNvPr id="6" name="Freeform 17"/>
          <p:cNvSpPr/>
          <p:nvPr/>
        </p:nvSpPr>
        <p:spPr>
          <a:xfrm>
            <a:off x="4203110" y="2213916"/>
            <a:ext cx="10545908" cy="7030604"/>
          </a:xfrm>
          <a:custGeom>
            <a:avLst/>
            <a:gdLst>
              <a:gd name="connsiteX0" fmla="*/ 2565627 w 7030605"/>
              <a:gd name="connsiteY0" fmla="*/ 1766182 h 4687069"/>
              <a:gd name="connsiteX1" fmla="*/ 1849773 w 7030605"/>
              <a:gd name="connsiteY1" fmla="*/ 2062699 h 4687069"/>
              <a:gd name="connsiteX2" fmla="*/ 1837664 w 7030605"/>
              <a:gd name="connsiteY2" fmla="*/ 2077374 h 4687069"/>
              <a:gd name="connsiteX3" fmla="*/ 1831215 w 7030605"/>
              <a:gd name="connsiteY3" fmla="*/ 2069557 h 4687069"/>
              <a:gd name="connsiteX4" fmla="*/ 1115360 w 7030605"/>
              <a:gd name="connsiteY4" fmla="*/ 1773040 h 4687069"/>
              <a:gd name="connsiteX5" fmla="*/ 102989 w 7030605"/>
              <a:gd name="connsiteY5" fmla="*/ 2785411 h 4687069"/>
              <a:gd name="connsiteX6" fmla="*/ 1115360 w 7030605"/>
              <a:gd name="connsiteY6" fmla="*/ 3797782 h 4687069"/>
              <a:gd name="connsiteX7" fmla="*/ 1831215 w 7030605"/>
              <a:gd name="connsiteY7" fmla="*/ 3501266 h 4687069"/>
              <a:gd name="connsiteX8" fmla="*/ 1843323 w 7030605"/>
              <a:gd name="connsiteY8" fmla="*/ 3486590 h 4687069"/>
              <a:gd name="connsiteX9" fmla="*/ 1849773 w 7030605"/>
              <a:gd name="connsiteY9" fmla="*/ 3494408 h 4687069"/>
              <a:gd name="connsiteX10" fmla="*/ 2565627 w 7030605"/>
              <a:gd name="connsiteY10" fmla="*/ 3790924 h 4687069"/>
              <a:gd name="connsiteX11" fmla="*/ 3577998 w 7030605"/>
              <a:gd name="connsiteY11" fmla="*/ 2778553 h 4687069"/>
              <a:gd name="connsiteX12" fmla="*/ 2565627 w 7030605"/>
              <a:gd name="connsiteY12" fmla="*/ 1766182 h 4687069"/>
              <a:gd name="connsiteX13" fmla="*/ 0 w 7030605"/>
              <a:gd name="connsiteY13" fmla="*/ 0 h 4687069"/>
              <a:gd name="connsiteX14" fmla="*/ 7030605 w 7030605"/>
              <a:gd name="connsiteY14" fmla="*/ 0 h 4687069"/>
              <a:gd name="connsiteX15" fmla="*/ 7030605 w 7030605"/>
              <a:gd name="connsiteY15" fmla="*/ 4687069 h 4687069"/>
              <a:gd name="connsiteX16" fmla="*/ 0 w 7030605"/>
              <a:gd name="connsiteY16" fmla="*/ 4687069 h 468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030605" h="4687069">
                <a:moveTo>
                  <a:pt x="2565627" y="1766182"/>
                </a:moveTo>
                <a:cubicBezTo>
                  <a:pt x="2286069" y="1766182"/>
                  <a:pt x="2032976" y="1879496"/>
                  <a:pt x="1849773" y="2062699"/>
                </a:cubicBezTo>
                <a:lnTo>
                  <a:pt x="1837664" y="2077374"/>
                </a:lnTo>
                <a:lnTo>
                  <a:pt x="1831215" y="2069557"/>
                </a:lnTo>
                <a:cubicBezTo>
                  <a:pt x="1648011" y="1886354"/>
                  <a:pt x="1394919" y="1773040"/>
                  <a:pt x="1115360" y="1773040"/>
                </a:cubicBezTo>
                <a:cubicBezTo>
                  <a:pt x="556243" y="1773040"/>
                  <a:pt x="102989" y="2226294"/>
                  <a:pt x="102989" y="2785411"/>
                </a:cubicBezTo>
                <a:cubicBezTo>
                  <a:pt x="102989" y="3344528"/>
                  <a:pt x="556243" y="3797782"/>
                  <a:pt x="1115360" y="3797782"/>
                </a:cubicBezTo>
                <a:cubicBezTo>
                  <a:pt x="1394919" y="3797782"/>
                  <a:pt x="1648011" y="3684469"/>
                  <a:pt x="1831215" y="3501266"/>
                </a:cubicBezTo>
                <a:lnTo>
                  <a:pt x="1843323" y="3486590"/>
                </a:lnTo>
                <a:lnTo>
                  <a:pt x="1849773" y="3494408"/>
                </a:lnTo>
                <a:cubicBezTo>
                  <a:pt x="2032976" y="3677611"/>
                  <a:pt x="2286069" y="3790924"/>
                  <a:pt x="2565627" y="3790924"/>
                </a:cubicBezTo>
                <a:cubicBezTo>
                  <a:pt x="3124744" y="3790924"/>
                  <a:pt x="3577998" y="3337670"/>
                  <a:pt x="3577998" y="2778553"/>
                </a:cubicBezTo>
                <a:cubicBezTo>
                  <a:pt x="3577998" y="2219436"/>
                  <a:pt x="3124744" y="1766182"/>
                  <a:pt x="2565627" y="1766182"/>
                </a:cubicBezTo>
                <a:close/>
                <a:moveTo>
                  <a:pt x="0" y="0"/>
                </a:moveTo>
                <a:lnTo>
                  <a:pt x="7030605" y="0"/>
                </a:lnTo>
                <a:lnTo>
                  <a:pt x="7030605" y="4687069"/>
                </a:lnTo>
                <a:lnTo>
                  <a:pt x="0" y="4687069"/>
                </a:lnTo>
                <a:close/>
              </a:path>
            </a:pathLst>
          </a:custGeom>
          <a:solidFill>
            <a:srgbClr val="0F14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solidFill>
                <a:prstClr val="white"/>
              </a:solidFill>
              <a:latin typeface="Times New Roman" panose="02020603050405020304" pitchFamily="18" charset="0"/>
              <a:cs typeface="Times New Roman" panose="02020603050405020304" pitchFamily="18" charset="0"/>
            </a:endParaRPr>
          </a:p>
        </p:txBody>
      </p:sp>
      <p:sp>
        <p:nvSpPr>
          <p:cNvPr id="7" name="Freeform 18"/>
          <p:cNvSpPr/>
          <p:nvPr/>
        </p:nvSpPr>
        <p:spPr>
          <a:xfrm>
            <a:off x="4203110" y="2213916"/>
            <a:ext cx="10545908" cy="7030604"/>
          </a:xfrm>
          <a:custGeom>
            <a:avLst/>
            <a:gdLst>
              <a:gd name="connsiteX0" fmla="*/ 3100105 w 7030605"/>
              <a:gd name="connsiteY0" fmla="*/ 243964 h 4687069"/>
              <a:gd name="connsiteX1" fmla="*/ 2384251 w 7030605"/>
              <a:gd name="connsiteY1" fmla="*/ 540481 h 4687069"/>
              <a:gd name="connsiteX2" fmla="*/ 2372142 w 7030605"/>
              <a:gd name="connsiteY2" fmla="*/ 555156 h 4687069"/>
              <a:gd name="connsiteX3" fmla="*/ 2365693 w 7030605"/>
              <a:gd name="connsiteY3" fmla="*/ 547339 h 4687069"/>
              <a:gd name="connsiteX4" fmla="*/ 1649838 w 7030605"/>
              <a:gd name="connsiteY4" fmla="*/ 250822 h 4687069"/>
              <a:gd name="connsiteX5" fmla="*/ 637467 w 7030605"/>
              <a:gd name="connsiteY5" fmla="*/ 1263193 h 4687069"/>
              <a:gd name="connsiteX6" fmla="*/ 1649838 w 7030605"/>
              <a:gd name="connsiteY6" fmla="*/ 2275564 h 4687069"/>
              <a:gd name="connsiteX7" fmla="*/ 2365693 w 7030605"/>
              <a:gd name="connsiteY7" fmla="*/ 1979048 h 4687069"/>
              <a:gd name="connsiteX8" fmla="*/ 2377801 w 7030605"/>
              <a:gd name="connsiteY8" fmla="*/ 1964372 h 4687069"/>
              <a:gd name="connsiteX9" fmla="*/ 2384251 w 7030605"/>
              <a:gd name="connsiteY9" fmla="*/ 1972190 h 4687069"/>
              <a:gd name="connsiteX10" fmla="*/ 3100105 w 7030605"/>
              <a:gd name="connsiteY10" fmla="*/ 2268706 h 4687069"/>
              <a:gd name="connsiteX11" fmla="*/ 4112476 w 7030605"/>
              <a:gd name="connsiteY11" fmla="*/ 1256335 h 4687069"/>
              <a:gd name="connsiteX12" fmla="*/ 3100105 w 7030605"/>
              <a:gd name="connsiteY12" fmla="*/ 243964 h 4687069"/>
              <a:gd name="connsiteX13" fmla="*/ 0 w 7030605"/>
              <a:gd name="connsiteY13" fmla="*/ 0 h 4687069"/>
              <a:gd name="connsiteX14" fmla="*/ 7030605 w 7030605"/>
              <a:gd name="connsiteY14" fmla="*/ 0 h 4687069"/>
              <a:gd name="connsiteX15" fmla="*/ 7030605 w 7030605"/>
              <a:gd name="connsiteY15" fmla="*/ 4687069 h 4687069"/>
              <a:gd name="connsiteX16" fmla="*/ 0 w 7030605"/>
              <a:gd name="connsiteY16" fmla="*/ 4687069 h 468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030605" h="4687069">
                <a:moveTo>
                  <a:pt x="3100105" y="243964"/>
                </a:moveTo>
                <a:cubicBezTo>
                  <a:pt x="2820547" y="243964"/>
                  <a:pt x="2567454" y="357278"/>
                  <a:pt x="2384251" y="540481"/>
                </a:cubicBezTo>
                <a:lnTo>
                  <a:pt x="2372142" y="555156"/>
                </a:lnTo>
                <a:lnTo>
                  <a:pt x="2365693" y="547339"/>
                </a:lnTo>
                <a:cubicBezTo>
                  <a:pt x="2182489" y="364136"/>
                  <a:pt x="1929397" y="250822"/>
                  <a:pt x="1649838" y="250822"/>
                </a:cubicBezTo>
                <a:cubicBezTo>
                  <a:pt x="1090721" y="250822"/>
                  <a:pt x="637467" y="704076"/>
                  <a:pt x="637467" y="1263193"/>
                </a:cubicBezTo>
                <a:cubicBezTo>
                  <a:pt x="637467" y="1822310"/>
                  <a:pt x="1090721" y="2275564"/>
                  <a:pt x="1649838" y="2275564"/>
                </a:cubicBezTo>
                <a:cubicBezTo>
                  <a:pt x="1929397" y="2275564"/>
                  <a:pt x="2182489" y="2162251"/>
                  <a:pt x="2365693" y="1979048"/>
                </a:cubicBezTo>
                <a:lnTo>
                  <a:pt x="2377801" y="1964372"/>
                </a:lnTo>
                <a:lnTo>
                  <a:pt x="2384251" y="1972190"/>
                </a:lnTo>
                <a:cubicBezTo>
                  <a:pt x="2567454" y="2155393"/>
                  <a:pt x="2820547" y="2268706"/>
                  <a:pt x="3100105" y="2268706"/>
                </a:cubicBezTo>
                <a:cubicBezTo>
                  <a:pt x="3659222" y="2268706"/>
                  <a:pt x="4112476" y="1815452"/>
                  <a:pt x="4112476" y="1256335"/>
                </a:cubicBezTo>
                <a:cubicBezTo>
                  <a:pt x="4112476" y="697218"/>
                  <a:pt x="3659222" y="243964"/>
                  <a:pt x="3100105" y="243964"/>
                </a:cubicBezTo>
                <a:close/>
                <a:moveTo>
                  <a:pt x="0" y="0"/>
                </a:moveTo>
                <a:lnTo>
                  <a:pt x="7030605" y="0"/>
                </a:lnTo>
                <a:lnTo>
                  <a:pt x="7030605" y="4687069"/>
                </a:lnTo>
                <a:lnTo>
                  <a:pt x="0" y="4687069"/>
                </a:lnTo>
                <a:close/>
              </a:path>
            </a:pathLst>
          </a:custGeom>
          <a:solidFill>
            <a:srgbClr val="0F14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solidFill>
                <a:prstClr val="white"/>
              </a:solidFill>
              <a:latin typeface="Times New Roman" panose="02020603050405020304" pitchFamily="18" charset="0"/>
              <a:cs typeface="Times New Roman" panose="02020603050405020304" pitchFamily="18" charset="0"/>
            </a:endParaRPr>
          </a:p>
        </p:txBody>
      </p:sp>
      <p:sp>
        <p:nvSpPr>
          <p:cNvPr id="8" name="Freeform 19"/>
          <p:cNvSpPr/>
          <p:nvPr/>
        </p:nvSpPr>
        <p:spPr>
          <a:xfrm>
            <a:off x="4203110" y="2213916"/>
            <a:ext cx="10545908" cy="7030604"/>
          </a:xfrm>
          <a:custGeom>
            <a:avLst/>
            <a:gdLst>
              <a:gd name="connsiteX0" fmla="*/ 5977940 w 7030605"/>
              <a:gd name="connsiteY0" fmla="*/ 2461641 h 4687069"/>
              <a:gd name="connsiteX1" fmla="*/ 5262086 w 7030605"/>
              <a:gd name="connsiteY1" fmla="*/ 2758158 h 4687069"/>
              <a:gd name="connsiteX2" fmla="*/ 5249977 w 7030605"/>
              <a:gd name="connsiteY2" fmla="*/ 2772833 h 4687069"/>
              <a:gd name="connsiteX3" fmla="*/ 5243528 w 7030605"/>
              <a:gd name="connsiteY3" fmla="*/ 2765016 h 4687069"/>
              <a:gd name="connsiteX4" fmla="*/ 4527673 w 7030605"/>
              <a:gd name="connsiteY4" fmla="*/ 2468499 h 4687069"/>
              <a:gd name="connsiteX5" fmla="*/ 3515302 w 7030605"/>
              <a:gd name="connsiteY5" fmla="*/ 3480870 h 4687069"/>
              <a:gd name="connsiteX6" fmla="*/ 4527673 w 7030605"/>
              <a:gd name="connsiteY6" fmla="*/ 4493241 h 4687069"/>
              <a:gd name="connsiteX7" fmla="*/ 5243528 w 7030605"/>
              <a:gd name="connsiteY7" fmla="*/ 4196725 h 4687069"/>
              <a:gd name="connsiteX8" fmla="*/ 5255636 w 7030605"/>
              <a:gd name="connsiteY8" fmla="*/ 4182049 h 4687069"/>
              <a:gd name="connsiteX9" fmla="*/ 5262086 w 7030605"/>
              <a:gd name="connsiteY9" fmla="*/ 4189867 h 4687069"/>
              <a:gd name="connsiteX10" fmla="*/ 5977940 w 7030605"/>
              <a:gd name="connsiteY10" fmla="*/ 4486383 h 4687069"/>
              <a:gd name="connsiteX11" fmla="*/ 6990311 w 7030605"/>
              <a:gd name="connsiteY11" fmla="*/ 3474012 h 4687069"/>
              <a:gd name="connsiteX12" fmla="*/ 5977940 w 7030605"/>
              <a:gd name="connsiteY12" fmla="*/ 2461641 h 4687069"/>
              <a:gd name="connsiteX13" fmla="*/ 0 w 7030605"/>
              <a:gd name="connsiteY13" fmla="*/ 0 h 4687069"/>
              <a:gd name="connsiteX14" fmla="*/ 7030605 w 7030605"/>
              <a:gd name="connsiteY14" fmla="*/ 0 h 4687069"/>
              <a:gd name="connsiteX15" fmla="*/ 7030605 w 7030605"/>
              <a:gd name="connsiteY15" fmla="*/ 4687069 h 4687069"/>
              <a:gd name="connsiteX16" fmla="*/ 0 w 7030605"/>
              <a:gd name="connsiteY16" fmla="*/ 4687069 h 468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030605" h="4687069">
                <a:moveTo>
                  <a:pt x="5977940" y="2461641"/>
                </a:moveTo>
                <a:cubicBezTo>
                  <a:pt x="5698382" y="2461641"/>
                  <a:pt x="5445289" y="2574955"/>
                  <a:pt x="5262086" y="2758158"/>
                </a:cubicBezTo>
                <a:lnTo>
                  <a:pt x="5249977" y="2772833"/>
                </a:lnTo>
                <a:lnTo>
                  <a:pt x="5243528" y="2765016"/>
                </a:lnTo>
                <a:cubicBezTo>
                  <a:pt x="5060324" y="2581813"/>
                  <a:pt x="4807232" y="2468499"/>
                  <a:pt x="4527673" y="2468499"/>
                </a:cubicBezTo>
                <a:cubicBezTo>
                  <a:pt x="3968556" y="2468499"/>
                  <a:pt x="3515302" y="2921753"/>
                  <a:pt x="3515302" y="3480870"/>
                </a:cubicBezTo>
                <a:cubicBezTo>
                  <a:pt x="3515302" y="4039987"/>
                  <a:pt x="3968556" y="4493241"/>
                  <a:pt x="4527673" y="4493241"/>
                </a:cubicBezTo>
                <a:cubicBezTo>
                  <a:pt x="4807232" y="4493241"/>
                  <a:pt x="5060324" y="4379928"/>
                  <a:pt x="5243528" y="4196725"/>
                </a:cubicBezTo>
                <a:lnTo>
                  <a:pt x="5255636" y="4182049"/>
                </a:lnTo>
                <a:lnTo>
                  <a:pt x="5262086" y="4189867"/>
                </a:lnTo>
                <a:cubicBezTo>
                  <a:pt x="5445289" y="4373070"/>
                  <a:pt x="5698382" y="4486383"/>
                  <a:pt x="5977940" y="4486383"/>
                </a:cubicBezTo>
                <a:cubicBezTo>
                  <a:pt x="6537057" y="4486383"/>
                  <a:pt x="6990311" y="4033129"/>
                  <a:pt x="6990311" y="3474012"/>
                </a:cubicBezTo>
                <a:cubicBezTo>
                  <a:pt x="6990311" y="2914895"/>
                  <a:pt x="6537057" y="2461641"/>
                  <a:pt x="5977940" y="2461641"/>
                </a:cubicBezTo>
                <a:close/>
                <a:moveTo>
                  <a:pt x="0" y="0"/>
                </a:moveTo>
                <a:lnTo>
                  <a:pt x="7030605" y="0"/>
                </a:lnTo>
                <a:lnTo>
                  <a:pt x="7030605" y="4687069"/>
                </a:lnTo>
                <a:lnTo>
                  <a:pt x="0" y="4687069"/>
                </a:lnTo>
                <a:close/>
              </a:path>
            </a:pathLst>
          </a:custGeom>
          <a:solidFill>
            <a:srgbClr val="0F14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solidFill>
                <a:prstClr val="white"/>
              </a:solidFill>
              <a:latin typeface="Times New Roman" panose="02020603050405020304" pitchFamily="18" charset="0"/>
              <a:cs typeface="Times New Roman" panose="02020603050405020304" pitchFamily="18" charset="0"/>
            </a:endParaRPr>
          </a:p>
        </p:txBody>
      </p:sp>
      <p:sp>
        <p:nvSpPr>
          <p:cNvPr id="9" name="Rectangle 8"/>
          <p:cNvSpPr/>
          <p:nvPr/>
        </p:nvSpPr>
        <p:spPr>
          <a:xfrm>
            <a:off x="4203110" y="2213916"/>
            <a:ext cx="10545908" cy="7030604"/>
          </a:xfrm>
          <a:prstGeom prst="rect">
            <a:avLst/>
          </a:prstGeom>
          <a:solidFill>
            <a:srgbClr val="0F14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solidFill>
                <a:prstClr val="white"/>
              </a:solidFill>
              <a:latin typeface="Times New Roman" panose="02020603050405020304" pitchFamily="18" charset="0"/>
              <a:cs typeface="Times New Roman" panose="02020603050405020304" pitchFamily="18" charset="0"/>
            </a:endParaRPr>
          </a:p>
        </p:txBody>
      </p:sp>
      <p:sp>
        <p:nvSpPr>
          <p:cNvPr id="10" name="Title 20"/>
          <p:cNvSpPr>
            <a:spLocks noGrp="1"/>
          </p:cNvSpPr>
          <p:nvPr>
            <p:ph type="title"/>
          </p:nvPr>
        </p:nvSpPr>
        <p:spPr>
          <a:xfrm>
            <a:off x="979530" y="1042481"/>
            <a:ext cx="16440150" cy="1491459"/>
          </a:xfrm>
        </p:spPr>
        <p:txBody>
          <a:bodyPr/>
          <a:lstStyle/>
          <a:p>
            <a:r>
              <a:rPr lang="en-GB" sz="5400" dirty="0" err="1">
                <a:latin typeface="Times New Roman" panose="02020603050405020304" pitchFamily="18" charset="0"/>
                <a:cs typeface="Times New Roman" panose="02020603050405020304" pitchFamily="18" charset="0"/>
              </a:rPr>
              <a:t>Em</a:t>
            </a:r>
            <a:r>
              <a:rPr lang="en-GB" sz="5400" dirty="0">
                <a:latin typeface="Times New Roman" panose="02020603050405020304" pitchFamily="18" charset="0"/>
                <a:cs typeface="Times New Roman" panose="02020603050405020304" pitchFamily="18" charset="0"/>
              </a:rPr>
              <a:t> </a:t>
            </a:r>
            <a:r>
              <a:rPr lang="en-GB" sz="5400" dirty="0" err="1">
                <a:latin typeface="Times New Roman" panose="02020603050405020304" pitchFamily="18" charset="0"/>
                <a:cs typeface="Times New Roman" panose="02020603050405020304" pitchFamily="18" charset="0"/>
              </a:rPr>
              <a:t>đang</a:t>
            </a:r>
            <a:r>
              <a:rPr lang="en-GB" sz="5400" dirty="0">
                <a:latin typeface="Times New Roman" panose="02020603050405020304" pitchFamily="18" charset="0"/>
                <a:cs typeface="Times New Roman" panose="02020603050405020304" pitchFamily="18" charset="0"/>
              </a:rPr>
              <a:t> </a:t>
            </a:r>
            <a:r>
              <a:rPr lang="en-GB" sz="5400" dirty="0" err="1">
                <a:latin typeface="Times New Roman" panose="02020603050405020304" pitchFamily="18" charset="0"/>
                <a:cs typeface="Times New Roman" panose="02020603050405020304" pitchFamily="18" charset="0"/>
              </a:rPr>
              <a:t>thấy</a:t>
            </a:r>
            <a:r>
              <a:rPr lang="en-GB" sz="5400" dirty="0">
                <a:latin typeface="Times New Roman" panose="02020603050405020304" pitchFamily="18" charset="0"/>
                <a:cs typeface="Times New Roman" panose="02020603050405020304" pitchFamily="18" charset="0"/>
              </a:rPr>
              <a:t> </a:t>
            </a:r>
            <a:r>
              <a:rPr lang="en-GB" sz="5400" dirty="0" err="1">
                <a:latin typeface="Times New Roman" panose="02020603050405020304" pitchFamily="18" charset="0"/>
                <a:cs typeface="Times New Roman" panose="02020603050405020304" pitchFamily="18" charset="0"/>
              </a:rPr>
              <a:t>truyền</a:t>
            </a:r>
            <a:r>
              <a:rPr lang="en-GB" sz="5400" dirty="0">
                <a:latin typeface="Times New Roman" panose="02020603050405020304" pitchFamily="18" charset="0"/>
                <a:cs typeface="Times New Roman" panose="02020603050405020304" pitchFamily="18" charset="0"/>
              </a:rPr>
              <a:t> </a:t>
            </a:r>
            <a:r>
              <a:rPr lang="en-GB" sz="5400" dirty="0" err="1">
                <a:latin typeface="Times New Roman" panose="02020603050405020304" pitchFamily="18" charset="0"/>
                <a:cs typeface="Times New Roman" panose="02020603050405020304" pitchFamily="18" charset="0"/>
              </a:rPr>
              <a:t>thuyết</a:t>
            </a:r>
            <a:r>
              <a:rPr lang="en-GB" sz="5400" dirty="0">
                <a:latin typeface="Times New Roman" panose="02020603050405020304" pitchFamily="18" charset="0"/>
                <a:cs typeface="Times New Roman" panose="02020603050405020304" pitchFamily="18" charset="0"/>
              </a:rPr>
              <a:t> </a:t>
            </a:r>
            <a:r>
              <a:rPr lang="en-GB" sz="5400" dirty="0" err="1">
                <a:latin typeface="Times New Roman" panose="02020603050405020304" pitchFamily="18" charset="0"/>
                <a:cs typeface="Times New Roman" panose="02020603050405020304" pitchFamily="18" charset="0"/>
              </a:rPr>
              <a:t>nào</a:t>
            </a:r>
            <a:r>
              <a:rPr lang="en-GB" sz="5400" dirty="0">
                <a:latin typeface="Times New Roman" panose="02020603050405020304" pitchFamily="18" charset="0"/>
                <a:cs typeface="Times New Roman" panose="02020603050405020304" pitchFamily="18" charset="0"/>
              </a:rPr>
              <a:t>?</a:t>
            </a:r>
            <a:endParaRPr lang="en-GB" sz="5400" dirty="0">
              <a:latin typeface="Times New Roman" panose="02020603050405020304" pitchFamily="18" charset="0"/>
              <a:cs typeface="Times New Roman" panose="02020603050405020304" pitchFamily="18" charset="0"/>
            </a:endParaRPr>
          </a:p>
        </p:txBody>
      </p:sp>
      <p:sp>
        <p:nvSpPr>
          <p:cNvPr id="11" name="Rounded Rectangle 9"/>
          <p:cNvSpPr/>
          <p:nvPr/>
        </p:nvSpPr>
        <p:spPr>
          <a:xfrm>
            <a:off x="7196241" y="8303741"/>
            <a:ext cx="4559643" cy="835497"/>
          </a:xfrm>
          <a:prstGeom prst="roundRect">
            <a:avLst/>
          </a:prstGeom>
          <a:solidFill>
            <a:srgbClr val="0098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00" b="1" dirty="0" err="1">
                <a:solidFill>
                  <a:prstClr val="white"/>
                </a:solidFill>
                <a:latin typeface="Times New Roman" panose="02020603050405020304" pitchFamily="18" charset="0"/>
                <a:cs typeface="Times New Roman" panose="02020603050405020304" pitchFamily="18" charset="0"/>
              </a:rPr>
              <a:t>Đáp</a:t>
            </a:r>
            <a:r>
              <a:rPr lang="en-GB" sz="3600" b="1" dirty="0">
                <a:solidFill>
                  <a:prstClr val="white"/>
                </a:solidFill>
                <a:latin typeface="Times New Roman" panose="02020603050405020304" pitchFamily="18" charset="0"/>
                <a:cs typeface="Times New Roman" panose="02020603050405020304" pitchFamily="18" charset="0"/>
              </a:rPr>
              <a:t> </a:t>
            </a:r>
            <a:r>
              <a:rPr lang="en-GB" sz="3600" b="1" dirty="0" err="1">
                <a:solidFill>
                  <a:prstClr val="white"/>
                </a:solidFill>
                <a:latin typeface="Times New Roman" panose="02020603050405020304" pitchFamily="18" charset="0"/>
                <a:cs typeface="Times New Roman" panose="02020603050405020304" pitchFamily="18" charset="0"/>
              </a:rPr>
              <a:t>án</a:t>
            </a:r>
            <a:endParaRPr lang="en-GB" sz="3600" b="1" dirty="0">
              <a:solidFill>
                <a:prstClr val="white"/>
              </a:solidFill>
              <a:latin typeface="Times New Roman" panose="02020603050405020304" pitchFamily="18" charset="0"/>
              <a:cs typeface="Times New Roman" panose="02020603050405020304" pitchFamily="18" charset="0"/>
            </a:endParaRPr>
          </a:p>
        </p:txBody>
      </p:sp>
      <p:sp>
        <p:nvSpPr>
          <p:cNvPr id="12" name="Rounded Rectangle 23"/>
          <p:cNvSpPr/>
          <p:nvPr/>
        </p:nvSpPr>
        <p:spPr>
          <a:xfrm>
            <a:off x="6656604" y="8072006"/>
            <a:ext cx="5638919" cy="1372032"/>
          </a:xfrm>
          <a:prstGeom prst="roundRect">
            <a:avLst/>
          </a:prstGeom>
          <a:solidFill>
            <a:srgbClr val="18A0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00" b="1" dirty="0">
                <a:solidFill>
                  <a:prstClr val="white"/>
                </a:solidFill>
                <a:latin typeface="Times New Roman" panose="02020603050405020304" pitchFamily="18" charset="0"/>
                <a:cs typeface="Times New Roman" panose="02020603050405020304" pitchFamily="18" charset="0"/>
              </a:rPr>
              <a:t>Bánh </a:t>
            </a:r>
            <a:r>
              <a:rPr lang="en-GB" sz="3600" b="1" dirty="0" err="1">
                <a:solidFill>
                  <a:prstClr val="white"/>
                </a:solidFill>
                <a:latin typeface="Times New Roman" panose="02020603050405020304" pitchFamily="18" charset="0"/>
                <a:cs typeface="Times New Roman" panose="02020603050405020304" pitchFamily="18" charset="0"/>
              </a:rPr>
              <a:t>chưng</a:t>
            </a:r>
            <a:r>
              <a:rPr lang="en-GB" sz="3600" b="1" dirty="0">
                <a:solidFill>
                  <a:prstClr val="white"/>
                </a:solidFill>
                <a:latin typeface="Times New Roman" panose="02020603050405020304" pitchFamily="18" charset="0"/>
                <a:cs typeface="Times New Roman" panose="02020603050405020304" pitchFamily="18" charset="0"/>
              </a:rPr>
              <a:t> bánh </a:t>
            </a:r>
            <a:r>
              <a:rPr lang="en-GB" sz="3600" b="1" dirty="0" err="1">
                <a:solidFill>
                  <a:prstClr val="white"/>
                </a:solidFill>
                <a:latin typeface="Times New Roman" panose="02020603050405020304" pitchFamily="18" charset="0"/>
                <a:cs typeface="Times New Roman" panose="02020603050405020304" pitchFamily="18" charset="0"/>
              </a:rPr>
              <a:t>giầy</a:t>
            </a:r>
            <a:endParaRPr lang="en-GB" sz="3600" b="1" dirty="0">
              <a:solidFill>
                <a:prstClr val="white"/>
              </a:solidFill>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9"/>
                                        </p:tgtEl>
                                      </p:cBhvr>
                                    </p:animEffect>
                                    <p:set>
                                      <p:cBhvr>
                                        <p:cTn id="7" dur="1" fill="hold">
                                          <p:stCondLst>
                                            <p:cond delay="499"/>
                                          </p:stCondLst>
                                        </p:cTn>
                                        <p:tgtEl>
                                          <p:spTgt spid="9"/>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par>
                          <p:cTn id="13" fill="hold">
                            <p:stCondLst>
                              <p:cond delay="500"/>
                            </p:stCondLst>
                            <p:childTnLst>
                              <p:par>
                                <p:cTn id="14" presetID="10" presetClass="exit" presetSubtype="0" fill="hold" grpId="0" nodeType="afterEffect">
                                  <p:stCondLst>
                                    <p:cond delay="0"/>
                                  </p:stCondLst>
                                  <p:childTnLst>
                                    <p:animEffect transition="out" filter="fade">
                                      <p:cBhvr>
                                        <p:cTn id="15" dur="500"/>
                                        <p:tgtEl>
                                          <p:spTgt spid="8"/>
                                        </p:tgtEl>
                                      </p:cBhvr>
                                    </p:animEffect>
                                    <p:set>
                                      <p:cBhvr>
                                        <p:cTn id="16" dur="1" fill="hold">
                                          <p:stCondLst>
                                            <p:cond delay="499"/>
                                          </p:stCondLst>
                                        </p:cTn>
                                        <p:tgtEl>
                                          <p:spTgt spid="8"/>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childTnLst>
                          </p:cTn>
                        </p:par>
                        <p:par>
                          <p:cTn id="22" fill="hold">
                            <p:stCondLst>
                              <p:cond delay="500"/>
                            </p:stCondLst>
                            <p:childTnLst>
                              <p:par>
                                <p:cTn id="23" presetID="10" presetClass="exit" presetSubtype="0" fill="hold" grpId="1" nodeType="afterEffect">
                                  <p:stCondLst>
                                    <p:cond delay="0"/>
                                  </p:stCondLst>
                                  <p:childTnLst>
                                    <p:animEffect transition="out" filter="fade">
                                      <p:cBhvr>
                                        <p:cTn id="24" dur="500"/>
                                        <p:tgtEl>
                                          <p:spTgt spid="7"/>
                                        </p:tgtEl>
                                      </p:cBhvr>
                                    </p:animEffect>
                                    <p:set>
                                      <p:cBhvr>
                                        <p:cTn id="25" dur="1" fill="hold">
                                          <p:stCondLst>
                                            <p:cond delay="499"/>
                                          </p:stCondLst>
                                        </p:cTn>
                                        <p:tgtEl>
                                          <p:spTgt spid="7"/>
                                        </p:tgtEl>
                                        <p:attrNameLst>
                                          <p:attrName>style.visibility</p:attrName>
                                        </p:attrNameLst>
                                      </p:cBhvr>
                                      <p:to>
                                        <p:strVal val="hidden"/>
                                      </p:to>
                                    </p:set>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30" restart="whenNotActive" fill="hold" evtFilter="cancelBubble" nodeType="interactiveSeq">
                <p:stCondLst>
                  <p:cond evt="onClick" delay="0">
                    <p:tgtEl>
                      <p:spTgt spid="11"/>
                    </p:tgtEl>
                  </p:cond>
                </p:stCondLst>
                <p:endSync evt="end" delay="0">
                  <p:rtn val="all"/>
                </p:endSync>
                <p:childTnLst>
                  <p:par>
                    <p:cTn id="31" fill="hold">
                      <p:stCondLst>
                        <p:cond delay="0"/>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10" presetClass="exit" presetSubtype="0" fill="hold" grpId="1" nodeType="withEffect">
                                  <p:stCondLst>
                                    <p:cond delay="0"/>
                                  </p:stCondLst>
                                  <p:childTnLst>
                                    <p:animEffect transition="out" filter="fade">
                                      <p:cBhvr>
                                        <p:cTn id="37" dur="500"/>
                                        <p:tgtEl>
                                          <p:spTgt spid="6"/>
                                        </p:tgtEl>
                                      </p:cBhvr>
                                    </p:animEffect>
                                    <p:set>
                                      <p:cBhvr>
                                        <p:cTn id="38" dur="1" fill="hold">
                                          <p:stCondLst>
                                            <p:cond delay="499"/>
                                          </p:stCondLst>
                                        </p:cTn>
                                        <p:tgtEl>
                                          <p:spTgt spid="6"/>
                                        </p:tgtEl>
                                        <p:attrNameLst>
                                          <p:attrName>style.visibility</p:attrName>
                                        </p:attrNameLst>
                                      </p:cBhvr>
                                      <p:to>
                                        <p:strVal val="hidden"/>
                                      </p:to>
                                    </p:set>
                                  </p:childTnLst>
                                </p:cTn>
                              </p:par>
                            </p:childTnLst>
                          </p:cTn>
                        </p:par>
                      </p:childTnLst>
                    </p:cTn>
                  </p:par>
                </p:childTnLst>
              </p:cTn>
              <p:nextCondLst>
                <p:cond evt="onClick" delay="0">
                  <p:tgtEl>
                    <p:spTgt spid="11"/>
                  </p:tgtEl>
                </p:cond>
              </p:nextCondLst>
            </p:seq>
          </p:childTnLst>
        </p:cTn>
      </p:par>
    </p:tnLst>
    <p:bldLst>
      <p:bldP spid="6" grpId="0" bldLvl="0" animBg="1"/>
      <p:bldP spid="6" grpId="1" bldLvl="0" animBg="1"/>
      <p:bldP spid="7" grpId="0" bldLvl="0" animBg="1"/>
      <p:bldP spid="7" grpId="1" bldLvl="0" animBg="1"/>
      <p:bldP spid="8" grpId="0" bldLvl="0" animBg="1"/>
      <p:bldP spid="9" grpId="0" bldLvl="0" animBg="1"/>
      <p:bldP spid="11" grpId="0" bldLvl="0" animBg="1"/>
      <p:bldP spid="12" grpId="0" bldLvl="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rotWithShape="1">
          <a:blip r:embed="rId1"/>
          <a:stretch>
            <a:fillRect/>
          </a:stretch>
        </a:blipFill>
        <a:effectLst/>
      </p:bgPr>
    </p:bg>
    <p:spTree>
      <p:nvGrpSpPr>
        <p:cNvPr id="1" name=""/>
        <p:cNvGrpSpPr/>
        <p:nvPr/>
      </p:nvGrpSpPr>
      <p:grpSpPr>
        <a:xfrm>
          <a:off x="0" y="0"/>
          <a:ext cx="0" cy="0"/>
          <a:chOff x="0" y="0"/>
          <a:chExt cx="0" cy="0"/>
        </a:xfrm>
      </p:grpSpPr>
      <p:sp>
        <p:nvSpPr>
          <p:cNvPr id="14" name="Rectangle 13"/>
          <p:cNvSpPr/>
          <p:nvPr/>
        </p:nvSpPr>
        <p:spPr>
          <a:xfrm>
            <a:off x="3816429" y="2223960"/>
            <a:ext cx="10506456" cy="6995160"/>
          </a:xfrm>
          <a:prstGeom prst="rect">
            <a:avLst/>
          </a:prstGeom>
          <a:blipFill>
            <a:blip r:embed="rId2"/>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latin typeface="Times New Roman" panose="02020603050405020304" pitchFamily="18" charset="0"/>
              <a:cs typeface="Times New Roman" panose="02020603050405020304" pitchFamily="18" charset="0"/>
            </a:endParaRPr>
          </a:p>
        </p:txBody>
      </p:sp>
      <p:sp>
        <p:nvSpPr>
          <p:cNvPr id="6" name="Freeform 17"/>
          <p:cNvSpPr/>
          <p:nvPr/>
        </p:nvSpPr>
        <p:spPr>
          <a:xfrm>
            <a:off x="3796704" y="2188517"/>
            <a:ext cx="10545908" cy="7030604"/>
          </a:xfrm>
          <a:custGeom>
            <a:avLst/>
            <a:gdLst>
              <a:gd name="connsiteX0" fmla="*/ 2565627 w 7030605"/>
              <a:gd name="connsiteY0" fmla="*/ 1766182 h 4687069"/>
              <a:gd name="connsiteX1" fmla="*/ 1849773 w 7030605"/>
              <a:gd name="connsiteY1" fmla="*/ 2062699 h 4687069"/>
              <a:gd name="connsiteX2" fmla="*/ 1837664 w 7030605"/>
              <a:gd name="connsiteY2" fmla="*/ 2077374 h 4687069"/>
              <a:gd name="connsiteX3" fmla="*/ 1831215 w 7030605"/>
              <a:gd name="connsiteY3" fmla="*/ 2069557 h 4687069"/>
              <a:gd name="connsiteX4" fmla="*/ 1115360 w 7030605"/>
              <a:gd name="connsiteY4" fmla="*/ 1773040 h 4687069"/>
              <a:gd name="connsiteX5" fmla="*/ 102989 w 7030605"/>
              <a:gd name="connsiteY5" fmla="*/ 2785411 h 4687069"/>
              <a:gd name="connsiteX6" fmla="*/ 1115360 w 7030605"/>
              <a:gd name="connsiteY6" fmla="*/ 3797782 h 4687069"/>
              <a:gd name="connsiteX7" fmla="*/ 1831215 w 7030605"/>
              <a:gd name="connsiteY7" fmla="*/ 3501266 h 4687069"/>
              <a:gd name="connsiteX8" fmla="*/ 1843323 w 7030605"/>
              <a:gd name="connsiteY8" fmla="*/ 3486590 h 4687069"/>
              <a:gd name="connsiteX9" fmla="*/ 1849773 w 7030605"/>
              <a:gd name="connsiteY9" fmla="*/ 3494408 h 4687069"/>
              <a:gd name="connsiteX10" fmla="*/ 2565627 w 7030605"/>
              <a:gd name="connsiteY10" fmla="*/ 3790924 h 4687069"/>
              <a:gd name="connsiteX11" fmla="*/ 3577998 w 7030605"/>
              <a:gd name="connsiteY11" fmla="*/ 2778553 h 4687069"/>
              <a:gd name="connsiteX12" fmla="*/ 2565627 w 7030605"/>
              <a:gd name="connsiteY12" fmla="*/ 1766182 h 4687069"/>
              <a:gd name="connsiteX13" fmla="*/ 0 w 7030605"/>
              <a:gd name="connsiteY13" fmla="*/ 0 h 4687069"/>
              <a:gd name="connsiteX14" fmla="*/ 7030605 w 7030605"/>
              <a:gd name="connsiteY14" fmla="*/ 0 h 4687069"/>
              <a:gd name="connsiteX15" fmla="*/ 7030605 w 7030605"/>
              <a:gd name="connsiteY15" fmla="*/ 4687069 h 4687069"/>
              <a:gd name="connsiteX16" fmla="*/ 0 w 7030605"/>
              <a:gd name="connsiteY16" fmla="*/ 4687069 h 468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030605" h="4687069">
                <a:moveTo>
                  <a:pt x="2565627" y="1766182"/>
                </a:moveTo>
                <a:cubicBezTo>
                  <a:pt x="2286069" y="1766182"/>
                  <a:pt x="2032976" y="1879496"/>
                  <a:pt x="1849773" y="2062699"/>
                </a:cubicBezTo>
                <a:lnTo>
                  <a:pt x="1837664" y="2077374"/>
                </a:lnTo>
                <a:lnTo>
                  <a:pt x="1831215" y="2069557"/>
                </a:lnTo>
                <a:cubicBezTo>
                  <a:pt x="1648011" y="1886354"/>
                  <a:pt x="1394919" y="1773040"/>
                  <a:pt x="1115360" y="1773040"/>
                </a:cubicBezTo>
                <a:cubicBezTo>
                  <a:pt x="556243" y="1773040"/>
                  <a:pt x="102989" y="2226294"/>
                  <a:pt x="102989" y="2785411"/>
                </a:cubicBezTo>
                <a:cubicBezTo>
                  <a:pt x="102989" y="3344528"/>
                  <a:pt x="556243" y="3797782"/>
                  <a:pt x="1115360" y="3797782"/>
                </a:cubicBezTo>
                <a:cubicBezTo>
                  <a:pt x="1394919" y="3797782"/>
                  <a:pt x="1648011" y="3684469"/>
                  <a:pt x="1831215" y="3501266"/>
                </a:cubicBezTo>
                <a:lnTo>
                  <a:pt x="1843323" y="3486590"/>
                </a:lnTo>
                <a:lnTo>
                  <a:pt x="1849773" y="3494408"/>
                </a:lnTo>
                <a:cubicBezTo>
                  <a:pt x="2032976" y="3677611"/>
                  <a:pt x="2286069" y="3790924"/>
                  <a:pt x="2565627" y="3790924"/>
                </a:cubicBezTo>
                <a:cubicBezTo>
                  <a:pt x="3124744" y="3790924"/>
                  <a:pt x="3577998" y="3337670"/>
                  <a:pt x="3577998" y="2778553"/>
                </a:cubicBezTo>
                <a:cubicBezTo>
                  <a:pt x="3577998" y="2219436"/>
                  <a:pt x="3124744" y="1766182"/>
                  <a:pt x="2565627" y="1766182"/>
                </a:cubicBezTo>
                <a:close/>
                <a:moveTo>
                  <a:pt x="0" y="0"/>
                </a:moveTo>
                <a:lnTo>
                  <a:pt x="7030605" y="0"/>
                </a:lnTo>
                <a:lnTo>
                  <a:pt x="7030605" y="4687069"/>
                </a:lnTo>
                <a:lnTo>
                  <a:pt x="0" y="4687069"/>
                </a:lnTo>
                <a:close/>
              </a:path>
            </a:pathLst>
          </a:custGeom>
          <a:solidFill>
            <a:srgbClr val="0F14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solidFill>
                <a:prstClr val="white"/>
              </a:solidFill>
              <a:latin typeface="Times New Roman" panose="02020603050405020304" pitchFamily="18" charset="0"/>
              <a:cs typeface="Times New Roman" panose="02020603050405020304" pitchFamily="18" charset="0"/>
            </a:endParaRPr>
          </a:p>
        </p:txBody>
      </p:sp>
      <p:sp>
        <p:nvSpPr>
          <p:cNvPr id="7" name="Freeform 18"/>
          <p:cNvSpPr/>
          <p:nvPr/>
        </p:nvSpPr>
        <p:spPr>
          <a:xfrm>
            <a:off x="3796704" y="2188517"/>
            <a:ext cx="10545908" cy="7030604"/>
          </a:xfrm>
          <a:custGeom>
            <a:avLst/>
            <a:gdLst>
              <a:gd name="connsiteX0" fmla="*/ 3100105 w 7030605"/>
              <a:gd name="connsiteY0" fmla="*/ 243964 h 4687069"/>
              <a:gd name="connsiteX1" fmla="*/ 2384251 w 7030605"/>
              <a:gd name="connsiteY1" fmla="*/ 540481 h 4687069"/>
              <a:gd name="connsiteX2" fmla="*/ 2372142 w 7030605"/>
              <a:gd name="connsiteY2" fmla="*/ 555156 h 4687069"/>
              <a:gd name="connsiteX3" fmla="*/ 2365693 w 7030605"/>
              <a:gd name="connsiteY3" fmla="*/ 547339 h 4687069"/>
              <a:gd name="connsiteX4" fmla="*/ 1649838 w 7030605"/>
              <a:gd name="connsiteY4" fmla="*/ 250822 h 4687069"/>
              <a:gd name="connsiteX5" fmla="*/ 637467 w 7030605"/>
              <a:gd name="connsiteY5" fmla="*/ 1263193 h 4687069"/>
              <a:gd name="connsiteX6" fmla="*/ 1649838 w 7030605"/>
              <a:gd name="connsiteY6" fmla="*/ 2275564 h 4687069"/>
              <a:gd name="connsiteX7" fmla="*/ 2365693 w 7030605"/>
              <a:gd name="connsiteY7" fmla="*/ 1979048 h 4687069"/>
              <a:gd name="connsiteX8" fmla="*/ 2377801 w 7030605"/>
              <a:gd name="connsiteY8" fmla="*/ 1964372 h 4687069"/>
              <a:gd name="connsiteX9" fmla="*/ 2384251 w 7030605"/>
              <a:gd name="connsiteY9" fmla="*/ 1972190 h 4687069"/>
              <a:gd name="connsiteX10" fmla="*/ 3100105 w 7030605"/>
              <a:gd name="connsiteY10" fmla="*/ 2268706 h 4687069"/>
              <a:gd name="connsiteX11" fmla="*/ 4112476 w 7030605"/>
              <a:gd name="connsiteY11" fmla="*/ 1256335 h 4687069"/>
              <a:gd name="connsiteX12" fmla="*/ 3100105 w 7030605"/>
              <a:gd name="connsiteY12" fmla="*/ 243964 h 4687069"/>
              <a:gd name="connsiteX13" fmla="*/ 0 w 7030605"/>
              <a:gd name="connsiteY13" fmla="*/ 0 h 4687069"/>
              <a:gd name="connsiteX14" fmla="*/ 7030605 w 7030605"/>
              <a:gd name="connsiteY14" fmla="*/ 0 h 4687069"/>
              <a:gd name="connsiteX15" fmla="*/ 7030605 w 7030605"/>
              <a:gd name="connsiteY15" fmla="*/ 4687069 h 4687069"/>
              <a:gd name="connsiteX16" fmla="*/ 0 w 7030605"/>
              <a:gd name="connsiteY16" fmla="*/ 4687069 h 468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030605" h="4687069">
                <a:moveTo>
                  <a:pt x="3100105" y="243964"/>
                </a:moveTo>
                <a:cubicBezTo>
                  <a:pt x="2820547" y="243964"/>
                  <a:pt x="2567454" y="357278"/>
                  <a:pt x="2384251" y="540481"/>
                </a:cubicBezTo>
                <a:lnTo>
                  <a:pt x="2372142" y="555156"/>
                </a:lnTo>
                <a:lnTo>
                  <a:pt x="2365693" y="547339"/>
                </a:lnTo>
                <a:cubicBezTo>
                  <a:pt x="2182489" y="364136"/>
                  <a:pt x="1929397" y="250822"/>
                  <a:pt x="1649838" y="250822"/>
                </a:cubicBezTo>
                <a:cubicBezTo>
                  <a:pt x="1090721" y="250822"/>
                  <a:pt x="637467" y="704076"/>
                  <a:pt x="637467" y="1263193"/>
                </a:cubicBezTo>
                <a:cubicBezTo>
                  <a:pt x="637467" y="1822310"/>
                  <a:pt x="1090721" y="2275564"/>
                  <a:pt x="1649838" y="2275564"/>
                </a:cubicBezTo>
                <a:cubicBezTo>
                  <a:pt x="1929397" y="2275564"/>
                  <a:pt x="2182489" y="2162251"/>
                  <a:pt x="2365693" y="1979048"/>
                </a:cubicBezTo>
                <a:lnTo>
                  <a:pt x="2377801" y="1964372"/>
                </a:lnTo>
                <a:lnTo>
                  <a:pt x="2384251" y="1972190"/>
                </a:lnTo>
                <a:cubicBezTo>
                  <a:pt x="2567454" y="2155393"/>
                  <a:pt x="2820547" y="2268706"/>
                  <a:pt x="3100105" y="2268706"/>
                </a:cubicBezTo>
                <a:cubicBezTo>
                  <a:pt x="3659222" y="2268706"/>
                  <a:pt x="4112476" y="1815452"/>
                  <a:pt x="4112476" y="1256335"/>
                </a:cubicBezTo>
                <a:cubicBezTo>
                  <a:pt x="4112476" y="697218"/>
                  <a:pt x="3659222" y="243964"/>
                  <a:pt x="3100105" y="243964"/>
                </a:cubicBezTo>
                <a:close/>
                <a:moveTo>
                  <a:pt x="0" y="0"/>
                </a:moveTo>
                <a:lnTo>
                  <a:pt x="7030605" y="0"/>
                </a:lnTo>
                <a:lnTo>
                  <a:pt x="7030605" y="4687069"/>
                </a:lnTo>
                <a:lnTo>
                  <a:pt x="0" y="4687069"/>
                </a:lnTo>
                <a:close/>
              </a:path>
            </a:pathLst>
          </a:custGeom>
          <a:solidFill>
            <a:srgbClr val="0F14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solidFill>
                <a:prstClr val="white"/>
              </a:solidFill>
              <a:latin typeface="Times New Roman" panose="02020603050405020304" pitchFamily="18" charset="0"/>
              <a:cs typeface="Times New Roman" panose="02020603050405020304" pitchFamily="18" charset="0"/>
            </a:endParaRPr>
          </a:p>
        </p:txBody>
      </p:sp>
      <p:sp>
        <p:nvSpPr>
          <p:cNvPr id="8" name="Freeform 19"/>
          <p:cNvSpPr/>
          <p:nvPr/>
        </p:nvSpPr>
        <p:spPr>
          <a:xfrm>
            <a:off x="3796704" y="2188517"/>
            <a:ext cx="10545908" cy="7030604"/>
          </a:xfrm>
          <a:custGeom>
            <a:avLst/>
            <a:gdLst>
              <a:gd name="connsiteX0" fmla="*/ 5977940 w 7030605"/>
              <a:gd name="connsiteY0" fmla="*/ 2461641 h 4687069"/>
              <a:gd name="connsiteX1" fmla="*/ 5262086 w 7030605"/>
              <a:gd name="connsiteY1" fmla="*/ 2758158 h 4687069"/>
              <a:gd name="connsiteX2" fmla="*/ 5249977 w 7030605"/>
              <a:gd name="connsiteY2" fmla="*/ 2772833 h 4687069"/>
              <a:gd name="connsiteX3" fmla="*/ 5243528 w 7030605"/>
              <a:gd name="connsiteY3" fmla="*/ 2765016 h 4687069"/>
              <a:gd name="connsiteX4" fmla="*/ 4527673 w 7030605"/>
              <a:gd name="connsiteY4" fmla="*/ 2468499 h 4687069"/>
              <a:gd name="connsiteX5" fmla="*/ 3515302 w 7030605"/>
              <a:gd name="connsiteY5" fmla="*/ 3480870 h 4687069"/>
              <a:gd name="connsiteX6" fmla="*/ 4527673 w 7030605"/>
              <a:gd name="connsiteY6" fmla="*/ 4493241 h 4687069"/>
              <a:gd name="connsiteX7" fmla="*/ 5243528 w 7030605"/>
              <a:gd name="connsiteY7" fmla="*/ 4196725 h 4687069"/>
              <a:gd name="connsiteX8" fmla="*/ 5255636 w 7030605"/>
              <a:gd name="connsiteY8" fmla="*/ 4182049 h 4687069"/>
              <a:gd name="connsiteX9" fmla="*/ 5262086 w 7030605"/>
              <a:gd name="connsiteY9" fmla="*/ 4189867 h 4687069"/>
              <a:gd name="connsiteX10" fmla="*/ 5977940 w 7030605"/>
              <a:gd name="connsiteY10" fmla="*/ 4486383 h 4687069"/>
              <a:gd name="connsiteX11" fmla="*/ 6990311 w 7030605"/>
              <a:gd name="connsiteY11" fmla="*/ 3474012 h 4687069"/>
              <a:gd name="connsiteX12" fmla="*/ 5977940 w 7030605"/>
              <a:gd name="connsiteY12" fmla="*/ 2461641 h 4687069"/>
              <a:gd name="connsiteX13" fmla="*/ 0 w 7030605"/>
              <a:gd name="connsiteY13" fmla="*/ 0 h 4687069"/>
              <a:gd name="connsiteX14" fmla="*/ 7030605 w 7030605"/>
              <a:gd name="connsiteY14" fmla="*/ 0 h 4687069"/>
              <a:gd name="connsiteX15" fmla="*/ 7030605 w 7030605"/>
              <a:gd name="connsiteY15" fmla="*/ 4687069 h 4687069"/>
              <a:gd name="connsiteX16" fmla="*/ 0 w 7030605"/>
              <a:gd name="connsiteY16" fmla="*/ 4687069 h 468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030605" h="4687069">
                <a:moveTo>
                  <a:pt x="5977940" y="2461641"/>
                </a:moveTo>
                <a:cubicBezTo>
                  <a:pt x="5698382" y="2461641"/>
                  <a:pt x="5445289" y="2574955"/>
                  <a:pt x="5262086" y="2758158"/>
                </a:cubicBezTo>
                <a:lnTo>
                  <a:pt x="5249977" y="2772833"/>
                </a:lnTo>
                <a:lnTo>
                  <a:pt x="5243528" y="2765016"/>
                </a:lnTo>
                <a:cubicBezTo>
                  <a:pt x="5060324" y="2581813"/>
                  <a:pt x="4807232" y="2468499"/>
                  <a:pt x="4527673" y="2468499"/>
                </a:cubicBezTo>
                <a:cubicBezTo>
                  <a:pt x="3968556" y="2468499"/>
                  <a:pt x="3515302" y="2921753"/>
                  <a:pt x="3515302" y="3480870"/>
                </a:cubicBezTo>
                <a:cubicBezTo>
                  <a:pt x="3515302" y="4039987"/>
                  <a:pt x="3968556" y="4493241"/>
                  <a:pt x="4527673" y="4493241"/>
                </a:cubicBezTo>
                <a:cubicBezTo>
                  <a:pt x="4807232" y="4493241"/>
                  <a:pt x="5060324" y="4379928"/>
                  <a:pt x="5243528" y="4196725"/>
                </a:cubicBezTo>
                <a:lnTo>
                  <a:pt x="5255636" y="4182049"/>
                </a:lnTo>
                <a:lnTo>
                  <a:pt x="5262086" y="4189867"/>
                </a:lnTo>
                <a:cubicBezTo>
                  <a:pt x="5445289" y="4373070"/>
                  <a:pt x="5698382" y="4486383"/>
                  <a:pt x="5977940" y="4486383"/>
                </a:cubicBezTo>
                <a:cubicBezTo>
                  <a:pt x="6537057" y="4486383"/>
                  <a:pt x="6990311" y="4033129"/>
                  <a:pt x="6990311" y="3474012"/>
                </a:cubicBezTo>
                <a:cubicBezTo>
                  <a:pt x="6990311" y="2914895"/>
                  <a:pt x="6537057" y="2461641"/>
                  <a:pt x="5977940" y="2461641"/>
                </a:cubicBezTo>
                <a:close/>
                <a:moveTo>
                  <a:pt x="0" y="0"/>
                </a:moveTo>
                <a:lnTo>
                  <a:pt x="7030605" y="0"/>
                </a:lnTo>
                <a:lnTo>
                  <a:pt x="7030605" y="4687069"/>
                </a:lnTo>
                <a:lnTo>
                  <a:pt x="0" y="4687069"/>
                </a:lnTo>
                <a:close/>
              </a:path>
            </a:pathLst>
          </a:custGeom>
          <a:solidFill>
            <a:srgbClr val="0F14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solidFill>
                <a:prstClr val="white"/>
              </a:solidFill>
              <a:latin typeface="Times New Roman" panose="02020603050405020304" pitchFamily="18" charset="0"/>
              <a:cs typeface="Times New Roman" panose="02020603050405020304" pitchFamily="18" charset="0"/>
            </a:endParaRPr>
          </a:p>
        </p:txBody>
      </p:sp>
      <p:sp>
        <p:nvSpPr>
          <p:cNvPr id="9" name="Rectangle 8"/>
          <p:cNvSpPr/>
          <p:nvPr/>
        </p:nvSpPr>
        <p:spPr>
          <a:xfrm>
            <a:off x="3796704" y="2188517"/>
            <a:ext cx="10545908" cy="7030604"/>
          </a:xfrm>
          <a:prstGeom prst="rect">
            <a:avLst/>
          </a:prstGeom>
          <a:solidFill>
            <a:srgbClr val="0F14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solidFill>
                <a:prstClr val="white"/>
              </a:solidFill>
              <a:latin typeface="Times New Roman" panose="02020603050405020304" pitchFamily="18" charset="0"/>
              <a:cs typeface="Times New Roman" panose="02020603050405020304" pitchFamily="18" charset="0"/>
            </a:endParaRPr>
          </a:p>
        </p:txBody>
      </p:sp>
      <p:sp>
        <p:nvSpPr>
          <p:cNvPr id="10" name="Title 20"/>
          <p:cNvSpPr>
            <a:spLocks noGrp="1"/>
          </p:cNvSpPr>
          <p:nvPr>
            <p:ph type="title"/>
          </p:nvPr>
        </p:nvSpPr>
        <p:spPr>
          <a:xfrm>
            <a:off x="979530" y="1042481"/>
            <a:ext cx="16440150" cy="1491459"/>
          </a:xfrm>
        </p:spPr>
        <p:txBody>
          <a:bodyPr/>
          <a:lstStyle/>
          <a:p>
            <a:r>
              <a:rPr lang="en-GB" sz="5400" dirty="0" err="1">
                <a:latin typeface="Times New Roman" panose="02020603050405020304" pitchFamily="18" charset="0"/>
                <a:cs typeface="Times New Roman" panose="02020603050405020304" pitchFamily="18" charset="0"/>
              </a:rPr>
              <a:t>Em</a:t>
            </a:r>
            <a:r>
              <a:rPr lang="en-GB" sz="5400" dirty="0">
                <a:latin typeface="Times New Roman" panose="02020603050405020304" pitchFamily="18" charset="0"/>
                <a:cs typeface="Times New Roman" panose="02020603050405020304" pitchFamily="18" charset="0"/>
              </a:rPr>
              <a:t> </a:t>
            </a:r>
            <a:r>
              <a:rPr lang="en-GB" sz="5400" dirty="0" err="1">
                <a:latin typeface="Times New Roman" panose="02020603050405020304" pitchFamily="18" charset="0"/>
                <a:cs typeface="Times New Roman" panose="02020603050405020304" pitchFamily="18" charset="0"/>
              </a:rPr>
              <a:t>đang</a:t>
            </a:r>
            <a:r>
              <a:rPr lang="en-GB" sz="5400" dirty="0">
                <a:latin typeface="Times New Roman" panose="02020603050405020304" pitchFamily="18" charset="0"/>
                <a:cs typeface="Times New Roman" panose="02020603050405020304" pitchFamily="18" charset="0"/>
              </a:rPr>
              <a:t> </a:t>
            </a:r>
            <a:r>
              <a:rPr lang="en-GB" sz="5400" dirty="0" err="1">
                <a:latin typeface="Times New Roman" panose="02020603050405020304" pitchFamily="18" charset="0"/>
                <a:cs typeface="Times New Roman" panose="02020603050405020304" pitchFamily="18" charset="0"/>
              </a:rPr>
              <a:t>thấy</a:t>
            </a:r>
            <a:r>
              <a:rPr lang="en-GB" sz="5400" dirty="0">
                <a:latin typeface="Times New Roman" panose="02020603050405020304" pitchFamily="18" charset="0"/>
                <a:cs typeface="Times New Roman" panose="02020603050405020304" pitchFamily="18" charset="0"/>
              </a:rPr>
              <a:t> </a:t>
            </a:r>
            <a:r>
              <a:rPr lang="en-GB" sz="5400" dirty="0" err="1">
                <a:latin typeface="Times New Roman" panose="02020603050405020304" pitchFamily="18" charset="0"/>
                <a:cs typeface="Times New Roman" panose="02020603050405020304" pitchFamily="18" charset="0"/>
              </a:rPr>
              <a:t>truyền</a:t>
            </a:r>
            <a:r>
              <a:rPr lang="en-GB" sz="5400" dirty="0">
                <a:latin typeface="Times New Roman" panose="02020603050405020304" pitchFamily="18" charset="0"/>
                <a:cs typeface="Times New Roman" panose="02020603050405020304" pitchFamily="18" charset="0"/>
              </a:rPr>
              <a:t> </a:t>
            </a:r>
            <a:r>
              <a:rPr lang="en-GB" sz="5400" dirty="0" err="1">
                <a:latin typeface="Times New Roman" panose="02020603050405020304" pitchFamily="18" charset="0"/>
                <a:cs typeface="Times New Roman" panose="02020603050405020304" pitchFamily="18" charset="0"/>
              </a:rPr>
              <a:t>thuyết</a:t>
            </a:r>
            <a:r>
              <a:rPr lang="en-GB" sz="5400" dirty="0">
                <a:latin typeface="Times New Roman" panose="02020603050405020304" pitchFamily="18" charset="0"/>
                <a:cs typeface="Times New Roman" panose="02020603050405020304" pitchFamily="18" charset="0"/>
              </a:rPr>
              <a:t> </a:t>
            </a:r>
            <a:r>
              <a:rPr lang="en-GB" sz="5400" dirty="0" err="1">
                <a:latin typeface="Times New Roman" panose="02020603050405020304" pitchFamily="18" charset="0"/>
                <a:cs typeface="Times New Roman" panose="02020603050405020304" pitchFamily="18" charset="0"/>
              </a:rPr>
              <a:t>nào</a:t>
            </a:r>
            <a:r>
              <a:rPr lang="en-GB" sz="5400" dirty="0">
                <a:latin typeface="Times New Roman" panose="02020603050405020304" pitchFamily="18" charset="0"/>
                <a:cs typeface="Times New Roman" panose="02020603050405020304" pitchFamily="18" charset="0"/>
              </a:rPr>
              <a:t>?</a:t>
            </a:r>
            <a:endParaRPr lang="en-GB" sz="5400" dirty="0">
              <a:latin typeface="Times New Roman" panose="02020603050405020304" pitchFamily="18" charset="0"/>
              <a:cs typeface="Times New Roman" panose="02020603050405020304" pitchFamily="18" charset="0"/>
            </a:endParaRPr>
          </a:p>
        </p:txBody>
      </p:sp>
      <p:sp>
        <p:nvSpPr>
          <p:cNvPr id="11" name="Rounded Rectangle 9"/>
          <p:cNvSpPr/>
          <p:nvPr/>
        </p:nvSpPr>
        <p:spPr>
          <a:xfrm>
            <a:off x="7196241" y="8303741"/>
            <a:ext cx="4559643" cy="835497"/>
          </a:xfrm>
          <a:prstGeom prst="roundRect">
            <a:avLst/>
          </a:prstGeom>
          <a:solidFill>
            <a:srgbClr val="0098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00" b="1" dirty="0" err="1">
                <a:solidFill>
                  <a:prstClr val="white"/>
                </a:solidFill>
                <a:latin typeface="Times New Roman" panose="02020603050405020304" pitchFamily="18" charset="0"/>
                <a:cs typeface="Times New Roman" panose="02020603050405020304" pitchFamily="18" charset="0"/>
              </a:rPr>
              <a:t>Đáp</a:t>
            </a:r>
            <a:r>
              <a:rPr lang="en-GB" sz="3600" b="1" dirty="0">
                <a:solidFill>
                  <a:prstClr val="white"/>
                </a:solidFill>
                <a:latin typeface="Times New Roman" panose="02020603050405020304" pitchFamily="18" charset="0"/>
                <a:cs typeface="Times New Roman" panose="02020603050405020304" pitchFamily="18" charset="0"/>
              </a:rPr>
              <a:t> </a:t>
            </a:r>
            <a:r>
              <a:rPr lang="en-GB" sz="3600" b="1" dirty="0" err="1">
                <a:solidFill>
                  <a:prstClr val="white"/>
                </a:solidFill>
                <a:latin typeface="Times New Roman" panose="02020603050405020304" pitchFamily="18" charset="0"/>
                <a:cs typeface="Times New Roman" panose="02020603050405020304" pitchFamily="18" charset="0"/>
              </a:rPr>
              <a:t>án</a:t>
            </a:r>
            <a:endParaRPr lang="en-GB" sz="3600" b="1" dirty="0">
              <a:solidFill>
                <a:prstClr val="white"/>
              </a:solidFill>
              <a:latin typeface="Times New Roman" panose="02020603050405020304" pitchFamily="18" charset="0"/>
              <a:cs typeface="Times New Roman" panose="02020603050405020304" pitchFamily="18" charset="0"/>
            </a:endParaRPr>
          </a:p>
        </p:txBody>
      </p:sp>
      <p:sp>
        <p:nvSpPr>
          <p:cNvPr id="12" name="Rounded Rectangle 23"/>
          <p:cNvSpPr/>
          <p:nvPr/>
        </p:nvSpPr>
        <p:spPr>
          <a:xfrm>
            <a:off x="6656604" y="8072006"/>
            <a:ext cx="5638919" cy="1372032"/>
          </a:xfrm>
          <a:prstGeom prst="roundRect">
            <a:avLst/>
          </a:prstGeom>
          <a:solidFill>
            <a:srgbClr val="18A0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00" b="1" dirty="0" err="1">
                <a:solidFill>
                  <a:prstClr val="white"/>
                </a:solidFill>
                <a:latin typeface="Times New Roman" panose="02020603050405020304" pitchFamily="18" charset="0"/>
                <a:cs typeface="Times New Roman" panose="02020603050405020304" pitchFamily="18" charset="0"/>
              </a:rPr>
              <a:t>Sơn</a:t>
            </a:r>
            <a:r>
              <a:rPr lang="en-GB" sz="3600" b="1" dirty="0">
                <a:solidFill>
                  <a:prstClr val="white"/>
                </a:solidFill>
                <a:latin typeface="Times New Roman" panose="02020603050405020304" pitchFamily="18" charset="0"/>
                <a:cs typeface="Times New Roman" panose="02020603050405020304" pitchFamily="18" charset="0"/>
              </a:rPr>
              <a:t> </a:t>
            </a:r>
            <a:r>
              <a:rPr lang="en-GB" sz="3600" b="1" dirty="0" err="1">
                <a:solidFill>
                  <a:prstClr val="white"/>
                </a:solidFill>
                <a:latin typeface="Times New Roman" panose="02020603050405020304" pitchFamily="18" charset="0"/>
                <a:cs typeface="Times New Roman" panose="02020603050405020304" pitchFamily="18" charset="0"/>
              </a:rPr>
              <a:t>Tinh</a:t>
            </a:r>
            <a:r>
              <a:rPr lang="en-GB" sz="3600" b="1" dirty="0">
                <a:solidFill>
                  <a:prstClr val="white"/>
                </a:solidFill>
                <a:latin typeface="Times New Roman" panose="02020603050405020304" pitchFamily="18" charset="0"/>
                <a:cs typeface="Times New Roman" panose="02020603050405020304" pitchFamily="18" charset="0"/>
              </a:rPr>
              <a:t> </a:t>
            </a:r>
            <a:r>
              <a:rPr lang="en-GB" sz="3600" b="1" dirty="0" err="1">
                <a:solidFill>
                  <a:prstClr val="white"/>
                </a:solidFill>
                <a:latin typeface="Times New Roman" panose="02020603050405020304" pitchFamily="18" charset="0"/>
                <a:cs typeface="Times New Roman" panose="02020603050405020304" pitchFamily="18" charset="0"/>
              </a:rPr>
              <a:t>Thủy</a:t>
            </a:r>
            <a:r>
              <a:rPr lang="en-GB" sz="3600" b="1" dirty="0">
                <a:solidFill>
                  <a:prstClr val="white"/>
                </a:solidFill>
                <a:latin typeface="Times New Roman" panose="02020603050405020304" pitchFamily="18" charset="0"/>
                <a:cs typeface="Times New Roman" panose="02020603050405020304" pitchFamily="18" charset="0"/>
              </a:rPr>
              <a:t> </a:t>
            </a:r>
            <a:r>
              <a:rPr lang="en-GB" sz="3600" b="1" dirty="0" err="1">
                <a:solidFill>
                  <a:prstClr val="white"/>
                </a:solidFill>
                <a:latin typeface="Times New Roman" panose="02020603050405020304" pitchFamily="18" charset="0"/>
                <a:cs typeface="Times New Roman" panose="02020603050405020304" pitchFamily="18" charset="0"/>
              </a:rPr>
              <a:t>Tinh</a:t>
            </a:r>
            <a:endParaRPr lang="en-GB" sz="3600" b="1" dirty="0">
              <a:solidFill>
                <a:prstClr val="white"/>
              </a:solidFill>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9"/>
                                        </p:tgtEl>
                                      </p:cBhvr>
                                    </p:animEffect>
                                    <p:set>
                                      <p:cBhvr>
                                        <p:cTn id="7" dur="1" fill="hold">
                                          <p:stCondLst>
                                            <p:cond delay="499"/>
                                          </p:stCondLst>
                                        </p:cTn>
                                        <p:tgtEl>
                                          <p:spTgt spid="9"/>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par>
                          <p:cTn id="13" fill="hold">
                            <p:stCondLst>
                              <p:cond delay="500"/>
                            </p:stCondLst>
                            <p:childTnLst>
                              <p:par>
                                <p:cTn id="14" presetID="10" presetClass="exit" presetSubtype="0" fill="hold" grpId="0" nodeType="afterEffect">
                                  <p:stCondLst>
                                    <p:cond delay="0"/>
                                  </p:stCondLst>
                                  <p:childTnLst>
                                    <p:animEffect transition="out" filter="fade">
                                      <p:cBhvr>
                                        <p:cTn id="15" dur="500"/>
                                        <p:tgtEl>
                                          <p:spTgt spid="8"/>
                                        </p:tgtEl>
                                      </p:cBhvr>
                                    </p:animEffect>
                                    <p:set>
                                      <p:cBhvr>
                                        <p:cTn id="16" dur="1" fill="hold">
                                          <p:stCondLst>
                                            <p:cond delay="499"/>
                                          </p:stCondLst>
                                        </p:cTn>
                                        <p:tgtEl>
                                          <p:spTgt spid="8"/>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childTnLst>
                          </p:cTn>
                        </p:par>
                        <p:par>
                          <p:cTn id="22" fill="hold">
                            <p:stCondLst>
                              <p:cond delay="500"/>
                            </p:stCondLst>
                            <p:childTnLst>
                              <p:par>
                                <p:cTn id="23" presetID="10" presetClass="exit" presetSubtype="0" fill="hold" grpId="1" nodeType="afterEffect">
                                  <p:stCondLst>
                                    <p:cond delay="0"/>
                                  </p:stCondLst>
                                  <p:childTnLst>
                                    <p:animEffect transition="out" filter="fade">
                                      <p:cBhvr>
                                        <p:cTn id="24" dur="500"/>
                                        <p:tgtEl>
                                          <p:spTgt spid="7"/>
                                        </p:tgtEl>
                                      </p:cBhvr>
                                    </p:animEffect>
                                    <p:set>
                                      <p:cBhvr>
                                        <p:cTn id="25" dur="1" fill="hold">
                                          <p:stCondLst>
                                            <p:cond delay="499"/>
                                          </p:stCondLst>
                                        </p:cTn>
                                        <p:tgtEl>
                                          <p:spTgt spid="7"/>
                                        </p:tgtEl>
                                        <p:attrNameLst>
                                          <p:attrName>style.visibility</p:attrName>
                                        </p:attrNameLst>
                                      </p:cBhvr>
                                      <p:to>
                                        <p:strVal val="hidden"/>
                                      </p:to>
                                    </p:set>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30" restart="whenNotActive" fill="hold" evtFilter="cancelBubble" nodeType="interactiveSeq">
                <p:stCondLst>
                  <p:cond evt="onClick" delay="0">
                    <p:tgtEl>
                      <p:spTgt spid="11"/>
                    </p:tgtEl>
                  </p:cond>
                </p:stCondLst>
                <p:endSync evt="end" delay="0">
                  <p:rtn val="all"/>
                </p:endSync>
                <p:childTnLst>
                  <p:par>
                    <p:cTn id="31" fill="hold">
                      <p:stCondLst>
                        <p:cond delay="0"/>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10" presetClass="exit" presetSubtype="0" fill="hold" grpId="1" nodeType="withEffect">
                                  <p:stCondLst>
                                    <p:cond delay="0"/>
                                  </p:stCondLst>
                                  <p:childTnLst>
                                    <p:animEffect transition="out" filter="fade">
                                      <p:cBhvr>
                                        <p:cTn id="37" dur="500"/>
                                        <p:tgtEl>
                                          <p:spTgt spid="6"/>
                                        </p:tgtEl>
                                      </p:cBhvr>
                                    </p:animEffect>
                                    <p:set>
                                      <p:cBhvr>
                                        <p:cTn id="38" dur="1" fill="hold">
                                          <p:stCondLst>
                                            <p:cond delay="499"/>
                                          </p:stCondLst>
                                        </p:cTn>
                                        <p:tgtEl>
                                          <p:spTgt spid="6"/>
                                        </p:tgtEl>
                                        <p:attrNameLst>
                                          <p:attrName>style.visibility</p:attrName>
                                        </p:attrNameLst>
                                      </p:cBhvr>
                                      <p:to>
                                        <p:strVal val="hidden"/>
                                      </p:to>
                                    </p:set>
                                  </p:childTnLst>
                                </p:cTn>
                              </p:par>
                            </p:childTnLst>
                          </p:cTn>
                        </p:par>
                      </p:childTnLst>
                    </p:cTn>
                  </p:par>
                </p:childTnLst>
              </p:cTn>
              <p:nextCondLst>
                <p:cond evt="onClick" delay="0">
                  <p:tgtEl>
                    <p:spTgt spid="11"/>
                  </p:tgtEl>
                </p:cond>
              </p:nextCondLst>
            </p:seq>
          </p:childTnLst>
        </p:cTn>
      </p:par>
    </p:tnLst>
    <p:bldLst>
      <p:bldP spid="6" grpId="0" bldLvl="0" animBg="1"/>
      <p:bldP spid="6" grpId="1" bldLvl="0" animBg="1"/>
      <p:bldP spid="7" grpId="0" bldLvl="0" animBg="1"/>
      <p:bldP spid="7" grpId="1" bldLvl="0" animBg="1"/>
      <p:bldP spid="8" grpId="0" bldLvl="0" animBg="1"/>
      <p:bldP spid="9" grpId="0" bldLvl="0" animBg="1"/>
      <p:bldP spid="11" grpId="0" bldLvl="0" animBg="1"/>
      <p:bldP spid="12" grpId="0" bldLvl="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rotWithShape="1">
          <a:blip r:embed="rId1"/>
          <a:stretch>
            <a:fillRect/>
          </a:stretch>
        </a:blipFill>
        <a:effectLst/>
      </p:bgPr>
    </p:bg>
    <p:spTree>
      <p:nvGrpSpPr>
        <p:cNvPr id="1" name=""/>
        <p:cNvGrpSpPr/>
        <p:nvPr/>
      </p:nvGrpSpPr>
      <p:grpSpPr>
        <a:xfrm>
          <a:off x="0" y="0"/>
          <a:ext cx="0" cy="0"/>
          <a:chOff x="0" y="0"/>
          <a:chExt cx="0" cy="0"/>
        </a:xfrm>
      </p:grpSpPr>
      <p:sp>
        <p:nvSpPr>
          <p:cNvPr id="14" name="Rectangle 13"/>
          <p:cNvSpPr/>
          <p:nvPr/>
        </p:nvSpPr>
        <p:spPr>
          <a:xfrm>
            <a:off x="4673148" y="2223960"/>
            <a:ext cx="10506456" cy="6995160"/>
          </a:xfrm>
          <a:prstGeom prst="rect">
            <a:avLst/>
          </a:prstGeom>
          <a:blipFill>
            <a:blip r:embed="rId2"/>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latin typeface="Times New Roman" panose="02020603050405020304" pitchFamily="18" charset="0"/>
              <a:cs typeface="Times New Roman" panose="02020603050405020304" pitchFamily="18" charset="0"/>
            </a:endParaRPr>
          </a:p>
        </p:txBody>
      </p:sp>
      <p:sp>
        <p:nvSpPr>
          <p:cNvPr id="6" name="Freeform 17"/>
          <p:cNvSpPr/>
          <p:nvPr/>
        </p:nvSpPr>
        <p:spPr>
          <a:xfrm>
            <a:off x="4653423" y="2188517"/>
            <a:ext cx="10545908" cy="7030604"/>
          </a:xfrm>
          <a:custGeom>
            <a:avLst/>
            <a:gdLst>
              <a:gd name="connsiteX0" fmla="*/ 2565627 w 7030605"/>
              <a:gd name="connsiteY0" fmla="*/ 1766182 h 4687069"/>
              <a:gd name="connsiteX1" fmla="*/ 1849773 w 7030605"/>
              <a:gd name="connsiteY1" fmla="*/ 2062699 h 4687069"/>
              <a:gd name="connsiteX2" fmla="*/ 1837664 w 7030605"/>
              <a:gd name="connsiteY2" fmla="*/ 2077374 h 4687069"/>
              <a:gd name="connsiteX3" fmla="*/ 1831215 w 7030605"/>
              <a:gd name="connsiteY3" fmla="*/ 2069557 h 4687069"/>
              <a:gd name="connsiteX4" fmla="*/ 1115360 w 7030605"/>
              <a:gd name="connsiteY4" fmla="*/ 1773040 h 4687069"/>
              <a:gd name="connsiteX5" fmla="*/ 102989 w 7030605"/>
              <a:gd name="connsiteY5" fmla="*/ 2785411 h 4687069"/>
              <a:gd name="connsiteX6" fmla="*/ 1115360 w 7030605"/>
              <a:gd name="connsiteY6" fmla="*/ 3797782 h 4687069"/>
              <a:gd name="connsiteX7" fmla="*/ 1831215 w 7030605"/>
              <a:gd name="connsiteY7" fmla="*/ 3501266 h 4687069"/>
              <a:gd name="connsiteX8" fmla="*/ 1843323 w 7030605"/>
              <a:gd name="connsiteY8" fmla="*/ 3486590 h 4687069"/>
              <a:gd name="connsiteX9" fmla="*/ 1849773 w 7030605"/>
              <a:gd name="connsiteY9" fmla="*/ 3494408 h 4687069"/>
              <a:gd name="connsiteX10" fmla="*/ 2565627 w 7030605"/>
              <a:gd name="connsiteY10" fmla="*/ 3790924 h 4687069"/>
              <a:gd name="connsiteX11" fmla="*/ 3577998 w 7030605"/>
              <a:gd name="connsiteY11" fmla="*/ 2778553 h 4687069"/>
              <a:gd name="connsiteX12" fmla="*/ 2565627 w 7030605"/>
              <a:gd name="connsiteY12" fmla="*/ 1766182 h 4687069"/>
              <a:gd name="connsiteX13" fmla="*/ 0 w 7030605"/>
              <a:gd name="connsiteY13" fmla="*/ 0 h 4687069"/>
              <a:gd name="connsiteX14" fmla="*/ 7030605 w 7030605"/>
              <a:gd name="connsiteY14" fmla="*/ 0 h 4687069"/>
              <a:gd name="connsiteX15" fmla="*/ 7030605 w 7030605"/>
              <a:gd name="connsiteY15" fmla="*/ 4687069 h 4687069"/>
              <a:gd name="connsiteX16" fmla="*/ 0 w 7030605"/>
              <a:gd name="connsiteY16" fmla="*/ 4687069 h 468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030605" h="4687069">
                <a:moveTo>
                  <a:pt x="2565627" y="1766182"/>
                </a:moveTo>
                <a:cubicBezTo>
                  <a:pt x="2286069" y="1766182"/>
                  <a:pt x="2032976" y="1879496"/>
                  <a:pt x="1849773" y="2062699"/>
                </a:cubicBezTo>
                <a:lnTo>
                  <a:pt x="1837664" y="2077374"/>
                </a:lnTo>
                <a:lnTo>
                  <a:pt x="1831215" y="2069557"/>
                </a:lnTo>
                <a:cubicBezTo>
                  <a:pt x="1648011" y="1886354"/>
                  <a:pt x="1394919" y="1773040"/>
                  <a:pt x="1115360" y="1773040"/>
                </a:cubicBezTo>
                <a:cubicBezTo>
                  <a:pt x="556243" y="1773040"/>
                  <a:pt x="102989" y="2226294"/>
                  <a:pt x="102989" y="2785411"/>
                </a:cubicBezTo>
                <a:cubicBezTo>
                  <a:pt x="102989" y="3344528"/>
                  <a:pt x="556243" y="3797782"/>
                  <a:pt x="1115360" y="3797782"/>
                </a:cubicBezTo>
                <a:cubicBezTo>
                  <a:pt x="1394919" y="3797782"/>
                  <a:pt x="1648011" y="3684469"/>
                  <a:pt x="1831215" y="3501266"/>
                </a:cubicBezTo>
                <a:lnTo>
                  <a:pt x="1843323" y="3486590"/>
                </a:lnTo>
                <a:lnTo>
                  <a:pt x="1849773" y="3494408"/>
                </a:lnTo>
                <a:cubicBezTo>
                  <a:pt x="2032976" y="3677611"/>
                  <a:pt x="2286069" y="3790924"/>
                  <a:pt x="2565627" y="3790924"/>
                </a:cubicBezTo>
                <a:cubicBezTo>
                  <a:pt x="3124744" y="3790924"/>
                  <a:pt x="3577998" y="3337670"/>
                  <a:pt x="3577998" y="2778553"/>
                </a:cubicBezTo>
                <a:cubicBezTo>
                  <a:pt x="3577998" y="2219436"/>
                  <a:pt x="3124744" y="1766182"/>
                  <a:pt x="2565627" y="1766182"/>
                </a:cubicBezTo>
                <a:close/>
                <a:moveTo>
                  <a:pt x="0" y="0"/>
                </a:moveTo>
                <a:lnTo>
                  <a:pt x="7030605" y="0"/>
                </a:lnTo>
                <a:lnTo>
                  <a:pt x="7030605" y="4687069"/>
                </a:lnTo>
                <a:lnTo>
                  <a:pt x="0" y="4687069"/>
                </a:lnTo>
                <a:close/>
              </a:path>
            </a:pathLst>
          </a:custGeom>
          <a:solidFill>
            <a:srgbClr val="0F14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solidFill>
                <a:prstClr val="white"/>
              </a:solidFill>
              <a:latin typeface="Times New Roman" panose="02020603050405020304" pitchFamily="18" charset="0"/>
              <a:cs typeface="Times New Roman" panose="02020603050405020304" pitchFamily="18" charset="0"/>
            </a:endParaRPr>
          </a:p>
        </p:txBody>
      </p:sp>
      <p:sp>
        <p:nvSpPr>
          <p:cNvPr id="7" name="Freeform 18"/>
          <p:cNvSpPr/>
          <p:nvPr/>
        </p:nvSpPr>
        <p:spPr>
          <a:xfrm>
            <a:off x="4653423" y="2188517"/>
            <a:ext cx="10545908" cy="7030604"/>
          </a:xfrm>
          <a:custGeom>
            <a:avLst/>
            <a:gdLst>
              <a:gd name="connsiteX0" fmla="*/ 3100105 w 7030605"/>
              <a:gd name="connsiteY0" fmla="*/ 243964 h 4687069"/>
              <a:gd name="connsiteX1" fmla="*/ 2384251 w 7030605"/>
              <a:gd name="connsiteY1" fmla="*/ 540481 h 4687069"/>
              <a:gd name="connsiteX2" fmla="*/ 2372142 w 7030605"/>
              <a:gd name="connsiteY2" fmla="*/ 555156 h 4687069"/>
              <a:gd name="connsiteX3" fmla="*/ 2365693 w 7030605"/>
              <a:gd name="connsiteY3" fmla="*/ 547339 h 4687069"/>
              <a:gd name="connsiteX4" fmla="*/ 1649838 w 7030605"/>
              <a:gd name="connsiteY4" fmla="*/ 250822 h 4687069"/>
              <a:gd name="connsiteX5" fmla="*/ 637467 w 7030605"/>
              <a:gd name="connsiteY5" fmla="*/ 1263193 h 4687069"/>
              <a:gd name="connsiteX6" fmla="*/ 1649838 w 7030605"/>
              <a:gd name="connsiteY6" fmla="*/ 2275564 h 4687069"/>
              <a:gd name="connsiteX7" fmla="*/ 2365693 w 7030605"/>
              <a:gd name="connsiteY7" fmla="*/ 1979048 h 4687069"/>
              <a:gd name="connsiteX8" fmla="*/ 2377801 w 7030605"/>
              <a:gd name="connsiteY8" fmla="*/ 1964372 h 4687069"/>
              <a:gd name="connsiteX9" fmla="*/ 2384251 w 7030605"/>
              <a:gd name="connsiteY9" fmla="*/ 1972190 h 4687069"/>
              <a:gd name="connsiteX10" fmla="*/ 3100105 w 7030605"/>
              <a:gd name="connsiteY10" fmla="*/ 2268706 h 4687069"/>
              <a:gd name="connsiteX11" fmla="*/ 4112476 w 7030605"/>
              <a:gd name="connsiteY11" fmla="*/ 1256335 h 4687069"/>
              <a:gd name="connsiteX12" fmla="*/ 3100105 w 7030605"/>
              <a:gd name="connsiteY12" fmla="*/ 243964 h 4687069"/>
              <a:gd name="connsiteX13" fmla="*/ 0 w 7030605"/>
              <a:gd name="connsiteY13" fmla="*/ 0 h 4687069"/>
              <a:gd name="connsiteX14" fmla="*/ 7030605 w 7030605"/>
              <a:gd name="connsiteY14" fmla="*/ 0 h 4687069"/>
              <a:gd name="connsiteX15" fmla="*/ 7030605 w 7030605"/>
              <a:gd name="connsiteY15" fmla="*/ 4687069 h 4687069"/>
              <a:gd name="connsiteX16" fmla="*/ 0 w 7030605"/>
              <a:gd name="connsiteY16" fmla="*/ 4687069 h 468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030605" h="4687069">
                <a:moveTo>
                  <a:pt x="3100105" y="243964"/>
                </a:moveTo>
                <a:cubicBezTo>
                  <a:pt x="2820547" y="243964"/>
                  <a:pt x="2567454" y="357278"/>
                  <a:pt x="2384251" y="540481"/>
                </a:cubicBezTo>
                <a:lnTo>
                  <a:pt x="2372142" y="555156"/>
                </a:lnTo>
                <a:lnTo>
                  <a:pt x="2365693" y="547339"/>
                </a:lnTo>
                <a:cubicBezTo>
                  <a:pt x="2182489" y="364136"/>
                  <a:pt x="1929397" y="250822"/>
                  <a:pt x="1649838" y="250822"/>
                </a:cubicBezTo>
                <a:cubicBezTo>
                  <a:pt x="1090721" y="250822"/>
                  <a:pt x="637467" y="704076"/>
                  <a:pt x="637467" y="1263193"/>
                </a:cubicBezTo>
                <a:cubicBezTo>
                  <a:pt x="637467" y="1822310"/>
                  <a:pt x="1090721" y="2275564"/>
                  <a:pt x="1649838" y="2275564"/>
                </a:cubicBezTo>
                <a:cubicBezTo>
                  <a:pt x="1929397" y="2275564"/>
                  <a:pt x="2182489" y="2162251"/>
                  <a:pt x="2365693" y="1979048"/>
                </a:cubicBezTo>
                <a:lnTo>
                  <a:pt x="2377801" y="1964372"/>
                </a:lnTo>
                <a:lnTo>
                  <a:pt x="2384251" y="1972190"/>
                </a:lnTo>
                <a:cubicBezTo>
                  <a:pt x="2567454" y="2155393"/>
                  <a:pt x="2820547" y="2268706"/>
                  <a:pt x="3100105" y="2268706"/>
                </a:cubicBezTo>
                <a:cubicBezTo>
                  <a:pt x="3659222" y="2268706"/>
                  <a:pt x="4112476" y="1815452"/>
                  <a:pt x="4112476" y="1256335"/>
                </a:cubicBezTo>
                <a:cubicBezTo>
                  <a:pt x="4112476" y="697218"/>
                  <a:pt x="3659222" y="243964"/>
                  <a:pt x="3100105" y="243964"/>
                </a:cubicBezTo>
                <a:close/>
                <a:moveTo>
                  <a:pt x="0" y="0"/>
                </a:moveTo>
                <a:lnTo>
                  <a:pt x="7030605" y="0"/>
                </a:lnTo>
                <a:lnTo>
                  <a:pt x="7030605" y="4687069"/>
                </a:lnTo>
                <a:lnTo>
                  <a:pt x="0" y="4687069"/>
                </a:lnTo>
                <a:close/>
              </a:path>
            </a:pathLst>
          </a:custGeom>
          <a:solidFill>
            <a:srgbClr val="0F14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solidFill>
                <a:prstClr val="white"/>
              </a:solidFill>
              <a:latin typeface="Times New Roman" panose="02020603050405020304" pitchFamily="18" charset="0"/>
              <a:cs typeface="Times New Roman" panose="02020603050405020304" pitchFamily="18" charset="0"/>
            </a:endParaRPr>
          </a:p>
        </p:txBody>
      </p:sp>
      <p:sp>
        <p:nvSpPr>
          <p:cNvPr id="8" name="Freeform 19"/>
          <p:cNvSpPr/>
          <p:nvPr/>
        </p:nvSpPr>
        <p:spPr>
          <a:xfrm>
            <a:off x="4653423" y="2188517"/>
            <a:ext cx="10545908" cy="7030604"/>
          </a:xfrm>
          <a:custGeom>
            <a:avLst/>
            <a:gdLst>
              <a:gd name="connsiteX0" fmla="*/ 5977940 w 7030605"/>
              <a:gd name="connsiteY0" fmla="*/ 2461641 h 4687069"/>
              <a:gd name="connsiteX1" fmla="*/ 5262086 w 7030605"/>
              <a:gd name="connsiteY1" fmla="*/ 2758158 h 4687069"/>
              <a:gd name="connsiteX2" fmla="*/ 5249977 w 7030605"/>
              <a:gd name="connsiteY2" fmla="*/ 2772833 h 4687069"/>
              <a:gd name="connsiteX3" fmla="*/ 5243528 w 7030605"/>
              <a:gd name="connsiteY3" fmla="*/ 2765016 h 4687069"/>
              <a:gd name="connsiteX4" fmla="*/ 4527673 w 7030605"/>
              <a:gd name="connsiteY4" fmla="*/ 2468499 h 4687069"/>
              <a:gd name="connsiteX5" fmla="*/ 3515302 w 7030605"/>
              <a:gd name="connsiteY5" fmla="*/ 3480870 h 4687069"/>
              <a:gd name="connsiteX6" fmla="*/ 4527673 w 7030605"/>
              <a:gd name="connsiteY6" fmla="*/ 4493241 h 4687069"/>
              <a:gd name="connsiteX7" fmla="*/ 5243528 w 7030605"/>
              <a:gd name="connsiteY7" fmla="*/ 4196725 h 4687069"/>
              <a:gd name="connsiteX8" fmla="*/ 5255636 w 7030605"/>
              <a:gd name="connsiteY8" fmla="*/ 4182049 h 4687069"/>
              <a:gd name="connsiteX9" fmla="*/ 5262086 w 7030605"/>
              <a:gd name="connsiteY9" fmla="*/ 4189867 h 4687069"/>
              <a:gd name="connsiteX10" fmla="*/ 5977940 w 7030605"/>
              <a:gd name="connsiteY10" fmla="*/ 4486383 h 4687069"/>
              <a:gd name="connsiteX11" fmla="*/ 6990311 w 7030605"/>
              <a:gd name="connsiteY11" fmla="*/ 3474012 h 4687069"/>
              <a:gd name="connsiteX12" fmla="*/ 5977940 w 7030605"/>
              <a:gd name="connsiteY12" fmla="*/ 2461641 h 4687069"/>
              <a:gd name="connsiteX13" fmla="*/ 0 w 7030605"/>
              <a:gd name="connsiteY13" fmla="*/ 0 h 4687069"/>
              <a:gd name="connsiteX14" fmla="*/ 7030605 w 7030605"/>
              <a:gd name="connsiteY14" fmla="*/ 0 h 4687069"/>
              <a:gd name="connsiteX15" fmla="*/ 7030605 w 7030605"/>
              <a:gd name="connsiteY15" fmla="*/ 4687069 h 4687069"/>
              <a:gd name="connsiteX16" fmla="*/ 0 w 7030605"/>
              <a:gd name="connsiteY16" fmla="*/ 4687069 h 468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030605" h="4687069">
                <a:moveTo>
                  <a:pt x="5977940" y="2461641"/>
                </a:moveTo>
                <a:cubicBezTo>
                  <a:pt x="5698382" y="2461641"/>
                  <a:pt x="5445289" y="2574955"/>
                  <a:pt x="5262086" y="2758158"/>
                </a:cubicBezTo>
                <a:lnTo>
                  <a:pt x="5249977" y="2772833"/>
                </a:lnTo>
                <a:lnTo>
                  <a:pt x="5243528" y="2765016"/>
                </a:lnTo>
                <a:cubicBezTo>
                  <a:pt x="5060324" y="2581813"/>
                  <a:pt x="4807232" y="2468499"/>
                  <a:pt x="4527673" y="2468499"/>
                </a:cubicBezTo>
                <a:cubicBezTo>
                  <a:pt x="3968556" y="2468499"/>
                  <a:pt x="3515302" y="2921753"/>
                  <a:pt x="3515302" y="3480870"/>
                </a:cubicBezTo>
                <a:cubicBezTo>
                  <a:pt x="3515302" y="4039987"/>
                  <a:pt x="3968556" y="4493241"/>
                  <a:pt x="4527673" y="4493241"/>
                </a:cubicBezTo>
                <a:cubicBezTo>
                  <a:pt x="4807232" y="4493241"/>
                  <a:pt x="5060324" y="4379928"/>
                  <a:pt x="5243528" y="4196725"/>
                </a:cubicBezTo>
                <a:lnTo>
                  <a:pt x="5255636" y="4182049"/>
                </a:lnTo>
                <a:lnTo>
                  <a:pt x="5262086" y="4189867"/>
                </a:lnTo>
                <a:cubicBezTo>
                  <a:pt x="5445289" y="4373070"/>
                  <a:pt x="5698382" y="4486383"/>
                  <a:pt x="5977940" y="4486383"/>
                </a:cubicBezTo>
                <a:cubicBezTo>
                  <a:pt x="6537057" y="4486383"/>
                  <a:pt x="6990311" y="4033129"/>
                  <a:pt x="6990311" y="3474012"/>
                </a:cubicBezTo>
                <a:cubicBezTo>
                  <a:pt x="6990311" y="2914895"/>
                  <a:pt x="6537057" y="2461641"/>
                  <a:pt x="5977940" y="2461641"/>
                </a:cubicBezTo>
                <a:close/>
                <a:moveTo>
                  <a:pt x="0" y="0"/>
                </a:moveTo>
                <a:lnTo>
                  <a:pt x="7030605" y="0"/>
                </a:lnTo>
                <a:lnTo>
                  <a:pt x="7030605" y="4687069"/>
                </a:lnTo>
                <a:lnTo>
                  <a:pt x="0" y="4687069"/>
                </a:lnTo>
                <a:close/>
              </a:path>
            </a:pathLst>
          </a:custGeom>
          <a:solidFill>
            <a:srgbClr val="0F14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solidFill>
                <a:prstClr val="white"/>
              </a:solidFill>
              <a:latin typeface="Times New Roman" panose="02020603050405020304" pitchFamily="18" charset="0"/>
              <a:cs typeface="Times New Roman" panose="02020603050405020304" pitchFamily="18" charset="0"/>
            </a:endParaRPr>
          </a:p>
        </p:txBody>
      </p:sp>
      <p:sp>
        <p:nvSpPr>
          <p:cNvPr id="9" name="Rectangle 8"/>
          <p:cNvSpPr/>
          <p:nvPr/>
        </p:nvSpPr>
        <p:spPr>
          <a:xfrm>
            <a:off x="4653423" y="2188517"/>
            <a:ext cx="10545908" cy="7030604"/>
          </a:xfrm>
          <a:prstGeom prst="rect">
            <a:avLst/>
          </a:prstGeom>
          <a:solidFill>
            <a:srgbClr val="0F14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solidFill>
                <a:prstClr val="white"/>
              </a:solidFill>
              <a:latin typeface="Times New Roman" panose="02020603050405020304" pitchFamily="18" charset="0"/>
              <a:cs typeface="Times New Roman" panose="02020603050405020304" pitchFamily="18" charset="0"/>
            </a:endParaRPr>
          </a:p>
        </p:txBody>
      </p:sp>
      <p:sp>
        <p:nvSpPr>
          <p:cNvPr id="10" name="Title 20"/>
          <p:cNvSpPr>
            <a:spLocks noGrp="1"/>
          </p:cNvSpPr>
          <p:nvPr>
            <p:ph type="title"/>
          </p:nvPr>
        </p:nvSpPr>
        <p:spPr>
          <a:xfrm>
            <a:off x="979530" y="1042481"/>
            <a:ext cx="16440150" cy="1491459"/>
          </a:xfrm>
        </p:spPr>
        <p:txBody>
          <a:bodyPr/>
          <a:lstStyle/>
          <a:p>
            <a:r>
              <a:rPr lang="en-GB" sz="5400" dirty="0" err="1">
                <a:latin typeface="Times New Roman" panose="02020603050405020304" pitchFamily="18" charset="0"/>
                <a:cs typeface="Times New Roman" panose="02020603050405020304" pitchFamily="18" charset="0"/>
              </a:rPr>
              <a:t>Đây</a:t>
            </a:r>
            <a:r>
              <a:rPr lang="en-GB" sz="5400" dirty="0">
                <a:latin typeface="Times New Roman" panose="02020603050405020304" pitchFamily="18" charset="0"/>
                <a:cs typeface="Times New Roman" panose="02020603050405020304" pitchFamily="18" charset="0"/>
              </a:rPr>
              <a:t> </a:t>
            </a:r>
            <a:r>
              <a:rPr lang="en-GB" sz="5400" dirty="0" err="1">
                <a:latin typeface="Times New Roman" panose="02020603050405020304" pitchFamily="18" charset="0"/>
                <a:cs typeface="Times New Roman" panose="02020603050405020304" pitchFamily="18" charset="0"/>
              </a:rPr>
              <a:t>là</a:t>
            </a:r>
            <a:r>
              <a:rPr lang="en-GB" sz="5400" dirty="0">
                <a:latin typeface="Times New Roman" panose="02020603050405020304" pitchFamily="18" charset="0"/>
                <a:cs typeface="Times New Roman" panose="02020603050405020304" pitchFamily="18" charset="0"/>
              </a:rPr>
              <a:t> </a:t>
            </a:r>
            <a:r>
              <a:rPr lang="en-GB" sz="5400" dirty="0" err="1">
                <a:latin typeface="Times New Roman" panose="02020603050405020304" pitchFamily="18" charset="0"/>
                <a:cs typeface="Times New Roman" panose="02020603050405020304" pitchFamily="18" charset="0"/>
              </a:rPr>
              <a:t>đâu</a:t>
            </a:r>
            <a:r>
              <a:rPr lang="en-GB" sz="5400" dirty="0">
                <a:latin typeface="Times New Roman" panose="02020603050405020304" pitchFamily="18" charset="0"/>
                <a:cs typeface="Times New Roman" panose="02020603050405020304" pitchFamily="18" charset="0"/>
              </a:rPr>
              <a:t>?</a:t>
            </a:r>
            <a:endParaRPr lang="en-GB" sz="5400" dirty="0">
              <a:latin typeface="Times New Roman" panose="02020603050405020304" pitchFamily="18" charset="0"/>
              <a:cs typeface="Times New Roman" panose="02020603050405020304" pitchFamily="18" charset="0"/>
            </a:endParaRPr>
          </a:p>
        </p:txBody>
      </p:sp>
      <p:sp>
        <p:nvSpPr>
          <p:cNvPr id="11" name="Rounded Rectangle 9"/>
          <p:cNvSpPr/>
          <p:nvPr/>
        </p:nvSpPr>
        <p:spPr>
          <a:xfrm>
            <a:off x="7646555" y="8303741"/>
            <a:ext cx="4559643" cy="835497"/>
          </a:xfrm>
          <a:prstGeom prst="roundRect">
            <a:avLst/>
          </a:prstGeom>
          <a:solidFill>
            <a:srgbClr val="0098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00" b="1" dirty="0" err="1">
                <a:solidFill>
                  <a:prstClr val="white"/>
                </a:solidFill>
                <a:latin typeface="Times New Roman" panose="02020603050405020304" pitchFamily="18" charset="0"/>
                <a:cs typeface="Times New Roman" panose="02020603050405020304" pitchFamily="18" charset="0"/>
              </a:rPr>
              <a:t>Đáp</a:t>
            </a:r>
            <a:r>
              <a:rPr lang="en-GB" sz="3600" b="1" dirty="0">
                <a:solidFill>
                  <a:prstClr val="white"/>
                </a:solidFill>
                <a:latin typeface="Times New Roman" panose="02020603050405020304" pitchFamily="18" charset="0"/>
                <a:cs typeface="Times New Roman" panose="02020603050405020304" pitchFamily="18" charset="0"/>
              </a:rPr>
              <a:t> </a:t>
            </a:r>
            <a:r>
              <a:rPr lang="en-GB" sz="3600" b="1" dirty="0" err="1">
                <a:solidFill>
                  <a:prstClr val="white"/>
                </a:solidFill>
                <a:latin typeface="Times New Roman" panose="02020603050405020304" pitchFamily="18" charset="0"/>
                <a:cs typeface="Times New Roman" panose="02020603050405020304" pitchFamily="18" charset="0"/>
              </a:rPr>
              <a:t>án</a:t>
            </a:r>
            <a:endParaRPr lang="en-GB" sz="3600" b="1" dirty="0">
              <a:solidFill>
                <a:prstClr val="white"/>
              </a:solidFill>
              <a:latin typeface="Times New Roman" panose="02020603050405020304" pitchFamily="18" charset="0"/>
              <a:cs typeface="Times New Roman" panose="02020603050405020304" pitchFamily="18" charset="0"/>
            </a:endParaRPr>
          </a:p>
        </p:txBody>
      </p:sp>
      <p:sp>
        <p:nvSpPr>
          <p:cNvPr id="12" name="Rounded Rectangle 23"/>
          <p:cNvSpPr/>
          <p:nvPr/>
        </p:nvSpPr>
        <p:spPr>
          <a:xfrm>
            <a:off x="7646556" y="8323830"/>
            <a:ext cx="4579368" cy="815408"/>
          </a:xfrm>
          <a:prstGeom prst="roundRect">
            <a:avLst/>
          </a:prstGeom>
          <a:solidFill>
            <a:srgbClr val="18A0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00" b="1" dirty="0" err="1">
                <a:solidFill>
                  <a:prstClr val="white"/>
                </a:solidFill>
                <a:latin typeface="Times New Roman" panose="02020603050405020304" pitchFamily="18" charset="0"/>
                <a:cs typeface="Times New Roman" panose="02020603050405020304" pitchFamily="18" charset="0"/>
              </a:rPr>
              <a:t>Thành</a:t>
            </a:r>
            <a:r>
              <a:rPr lang="en-GB" sz="3600" b="1" dirty="0">
                <a:solidFill>
                  <a:prstClr val="white"/>
                </a:solidFill>
                <a:latin typeface="Times New Roman" panose="02020603050405020304" pitchFamily="18" charset="0"/>
                <a:cs typeface="Times New Roman" panose="02020603050405020304" pitchFamily="18" charset="0"/>
              </a:rPr>
              <a:t> </a:t>
            </a:r>
            <a:r>
              <a:rPr lang="en-GB" sz="3600" b="1" dirty="0" err="1">
                <a:solidFill>
                  <a:prstClr val="white"/>
                </a:solidFill>
                <a:latin typeface="Times New Roman" panose="02020603050405020304" pitchFamily="18" charset="0"/>
                <a:cs typeface="Times New Roman" panose="02020603050405020304" pitchFamily="18" charset="0"/>
              </a:rPr>
              <a:t>Cổ</a:t>
            </a:r>
            <a:r>
              <a:rPr lang="en-GB" sz="3600" b="1" dirty="0">
                <a:solidFill>
                  <a:prstClr val="white"/>
                </a:solidFill>
                <a:latin typeface="Times New Roman" panose="02020603050405020304" pitchFamily="18" charset="0"/>
                <a:cs typeface="Times New Roman" panose="02020603050405020304" pitchFamily="18" charset="0"/>
              </a:rPr>
              <a:t> Loa</a:t>
            </a:r>
            <a:endParaRPr lang="en-GB" sz="3600" b="1" dirty="0">
              <a:solidFill>
                <a:prstClr val="white"/>
              </a:solidFill>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9"/>
                                        </p:tgtEl>
                                      </p:cBhvr>
                                    </p:animEffect>
                                    <p:set>
                                      <p:cBhvr>
                                        <p:cTn id="7" dur="1" fill="hold">
                                          <p:stCondLst>
                                            <p:cond delay="499"/>
                                          </p:stCondLst>
                                        </p:cTn>
                                        <p:tgtEl>
                                          <p:spTgt spid="9"/>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par>
                          <p:cTn id="13" fill="hold">
                            <p:stCondLst>
                              <p:cond delay="500"/>
                            </p:stCondLst>
                            <p:childTnLst>
                              <p:par>
                                <p:cTn id="14" presetID="10" presetClass="exit" presetSubtype="0" fill="hold" grpId="0" nodeType="afterEffect">
                                  <p:stCondLst>
                                    <p:cond delay="0"/>
                                  </p:stCondLst>
                                  <p:childTnLst>
                                    <p:animEffect transition="out" filter="fade">
                                      <p:cBhvr>
                                        <p:cTn id="15" dur="500"/>
                                        <p:tgtEl>
                                          <p:spTgt spid="8"/>
                                        </p:tgtEl>
                                      </p:cBhvr>
                                    </p:animEffect>
                                    <p:set>
                                      <p:cBhvr>
                                        <p:cTn id="16" dur="1" fill="hold">
                                          <p:stCondLst>
                                            <p:cond delay="499"/>
                                          </p:stCondLst>
                                        </p:cTn>
                                        <p:tgtEl>
                                          <p:spTgt spid="8"/>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childTnLst>
                          </p:cTn>
                        </p:par>
                        <p:par>
                          <p:cTn id="22" fill="hold">
                            <p:stCondLst>
                              <p:cond delay="500"/>
                            </p:stCondLst>
                            <p:childTnLst>
                              <p:par>
                                <p:cTn id="23" presetID="10" presetClass="exit" presetSubtype="0" fill="hold" grpId="1" nodeType="afterEffect">
                                  <p:stCondLst>
                                    <p:cond delay="0"/>
                                  </p:stCondLst>
                                  <p:childTnLst>
                                    <p:animEffect transition="out" filter="fade">
                                      <p:cBhvr>
                                        <p:cTn id="24" dur="500"/>
                                        <p:tgtEl>
                                          <p:spTgt spid="7"/>
                                        </p:tgtEl>
                                      </p:cBhvr>
                                    </p:animEffect>
                                    <p:set>
                                      <p:cBhvr>
                                        <p:cTn id="25" dur="1" fill="hold">
                                          <p:stCondLst>
                                            <p:cond delay="499"/>
                                          </p:stCondLst>
                                        </p:cTn>
                                        <p:tgtEl>
                                          <p:spTgt spid="7"/>
                                        </p:tgtEl>
                                        <p:attrNameLst>
                                          <p:attrName>style.visibility</p:attrName>
                                        </p:attrNameLst>
                                      </p:cBhvr>
                                      <p:to>
                                        <p:strVal val="hidden"/>
                                      </p:to>
                                    </p:set>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30" restart="whenNotActive" fill="hold" evtFilter="cancelBubble" nodeType="interactiveSeq">
                <p:stCondLst>
                  <p:cond evt="onClick" delay="0">
                    <p:tgtEl>
                      <p:spTgt spid="11"/>
                    </p:tgtEl>
                  </p:cond>
                </p:stCondLst>
                <p:endSync evt="end" delay="0">
                  <p:rtn val="all"/>
                </p:endSync>
                <p:childTnLst>
                  <p:par>
                    <p:cTn id="31" fill="hold">
                      <p:stCondLst>
                        <p:cond delay="0"/>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10" presetClass="exit" presetSubtype="0" fill="hold" grpId="1" nodeType="withEffect">
                                  <p:stCondLst>
                                    <p:cond delay="0"/>
                                  </p:stCondLst>
                                  <p:childTnLst>
                                    <p:animEffect transition="out" filter="fade">
                                      <p:cBhvr>
                                        <p:cTn id="37" dur="500"/>
                                        <p:tgtEl>
                                          <p:spTgt spid="6"/>
                                        </p:tgtEl>
                                      </p:cBhvr>
                                    </p:animEffect>
                                    <p:set>
                                      <p:cBhvr>
                                        <p:cTn id="38" dur="1" fill="hold">
                                          <p:stCondLst>
                                            <p:cond delay="499"/>
                                          </p:stCondLst>
                                        </p:cTn>
                                        <p:tgtEl>
                                          <p:spTgt spid="6"/>
                                        </p:tgtEl>
                                        <p:attrNameLst>
                                          <p:attrName>style.visibility</p:attrName>
                                        </p:attrNameLst>
                                      </p:cBhvr>
                                      <p:to>
                                        <p:strVal val="hidden"/>
                                      </p:to>
                                    </p:set>
                                  </p:childTnLst>
                                </p:cTn>
                              </p:par>
                            </p:childTnLst>
                          </p:cTn>
                        </p:par>
                      </p:childTnLst>
                    </p:cTn>
                  </p:par>
                </p:childTnLst>
              </p:cTn>
              <p:nextCondLst>
                <p:cond evt="onClick" delay="0">
                  <p:tgtEl>
                    <p:spTgt spid="11"/>
                  </p:tgtEl>
                </p:cond>
              </p:nextCondLst>
            </p:seq>
          </p:childTnLst>
        </p:cTn>
      </p:par>
    </p:tnLst>
    <p:bldLst>
      <p:bldP spid="6" grpId="0" bldLvl="0" animBg="1"/>
      <p:bldP spid="6" grpId="1" bldLvl="0" animBg="1"/>
      <p:bldP spid="7" grpId="0" bldLvl="0" animBg="1"/>
      <p:bldP spid="7" grpId="1" bldLvl="0" animBg="1"/>
      <p:bldP spid="8" grpId="0" bldLvl="0" animBg="1"/>
      <p:bldP spid="9" grpId="0" bldLvl="0" animBg="1"/>
      <p:bldP spid="11" grpId="0" bldLvl="0" animBg="1"/>
      <p:bldP spid="12" grpId="0" bldLvl="0" animBg="1"/>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FFAF5"/>
        </a:solidFill>
        <a:effectLst/>
      </p:bgPr>
    </p:bg>
    <p:spTree>
      <p:nvGrpSpPr>
        <p:cNvPr id="1" name=""/>
        <p:cNvGrpSpPr/>
        <p:nvPr/>
      </p:nvGrpSpPr>
      <p:grpSpPr>
        <a:xfrm>
          <a:off x="0" y="0"/>
          <a:ext cx="0" cy="0"/>
          <a:chOff x="0" y="0"/>
          <a:chExt cx="0" cy="0"/>
        </a:xfrm>
      </p:grpSpPr>
      <p:pic>
        <p:nvPicPr>
          <p:cNvPr id="2" name="Picture 2"/>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rot="-10800000">
            <a:off x="-457200" y="8267700"/>
            <a:ext cx="19354800" cy="3200400"/>
          </a:xfrm>
          <a:prstGeom prst="rect">
            <a:avLst/>
          </a:prstGeom>
        </p:spPr>
      </p:pic>
      <p:sp>
        <p:nvSpPr>
          <p:cNvPr id="5" name="TextBox 5"/>
          <p:cNvSpPr txBox="1"/>
          <p:nvPr/>
        </p:nvSpPr>
        <p:spPr>
          <a:xfrm>
            <a:off x="76200" y="2095500"/>
            <a:ext cx="18288000" cy="1154162"/>
          </a:xfrm>
          <a:prstGeom prst="rect">
            <a:avLst/>
          </a:prstGeom>
        </p:spPr>
        <p:txBody>
          <a:bodyPr wrap="square" lIns="0" tIns="0" rIns="0" bIns="0" rtlCol="0" anchor="t">
            <a:spAutoFit/>
          </a:bodyPr>
          <a:lstStyle/>
          <a:p>
            <a:pPr algn="ctr">
              <a:lnSpc>
                <a:spcPts val="9000"/>
              </a:lnSpc>
            </a:pPr>
            <a:r>
              <a:rPr lang="en-US" sz="6500" b="1" smtClean="0">
                <a:solidFill>
                  <a:srgbClr val="000000"/>
                </a:solidFill>
                <a:latin typeface="Arial" panose="020B0604020202020204" pitchFamily="34" charset="0"/>
                <a:cs typeface="Arial" panose="020B0604020202020204" pitchFamily="34" charset="0"/>
              </a:rPr>
              <a:t>BÀI </a:t>
            </a:r>
            <a:r>
              <a:rPr lang="en-US" sz="6500" b="1" smtClean="0">
                <a:solidFill>
                  <a:srgbClr val="000000"/>
                </a:solidFill>
                <a:latin typeface="Arial" panose="020B0604020202020204" pitchFamily="34" charset="0"/>
                <a:cs typeface="Arial" panose="020B0604020202020204" pitchFamily="34" charset="0"/>
              </a:rPr>
              <a:t>14: </a:t>
            </a:r>
            <a:r>
              <a:rPr lang="en-US" sz="6500" b="1" dirty="0" smtClean="0">
                <a:solidFill>
                  <a:srgbClr val="000000"/>
                </a:solidFill>
                <a:latin typeface="Arial" panose="020B0604020202020204" pitchFamily="34" charset="0"/>
                <a:cs typeface="Arial" panose="020B0604020202020204" pitchFamily="34" charset="0"/>
              </a:rPr>
              <a:t>NHÀ NƯỚC VĂN LANG, ÂU LẠC</a:t>
            </a:r>
            <a:endParaRPr lang="en-US" sz="6500" b="1" dirty="0">
              <a:solidFill>
                <a:srgbClr val="000000"/>
              </a:solidFill>
              <a:latin typeface="Arial" panose="020B0604020202020204" pitchFamily="34" charset="0"/>
              <a:cs typeface="Arial" panose="020B0604020202020204" pitchFamily="34" charset="0"/>
            </a:endParaRPr>
          </a:p>
        </p:txBody>
      </p:sp>
      <p:grpSp>
        <p:nvGrpSpPr>
          <p:cNvPr id="30" name="Google Shape;1480;p48"/>
          <p:cNvGrpSpPr/>
          <p:nvPr/>
        </p:nvGrpSpPr>
        <p:grpSpPr>
          <a:xfrm>
            <a:off x="7391400" y="3960363"/>
            <a:ext cx="3087074" cy="4433328"/>
            <a:chOff x="4529725" y="1974475"/>
            <a:chExt cx="455425" cy="596825"/>
          </a:xfrm>
        </p:grpSpPr>
        <p:sp>
          <p:nvSpPr>
            <p:cNvPr id="31" name="Google Shape;1481;p48"/>
            <p:cNvSpPr/>
            <p:nvPr/>
          </p:nvSpPr>
          <p:spPr>
            <a:xfrm>
              <a:off x="4547275" y="2052175"/>
              <a:ext cx="400075" cy="519125"/>
            </a:xfrm>
            <a:custGeom>
              <a:avLst/>
              <a:gdLst/>
              <a:ahLst/>
              <a:cxnLst/>
              <a:rect l="l" t="t" r="r" b="b"/>
              <a:pathLst>
                <a:path w="16003" h="20765" extrusionOk="0">
                  <a:moveTo>
                    <a:pt x="4263" y="0"/>
                  </a:moveTo>
                  <a:lnTo>
                    <a:pt x="2727" y="524"/>
                  </a:lnTo>
                  <a:lnTo>
                    <a:pt x="1" y="1453"/>
                  </a:lnTo>
                  <a:lnTo>
                    <a:pt x="751" y="2870"/>
                  </a:lnTo>
                  <a:lnTo>
                    <a:pt x="8145" y="16848"/>
                  </a:lnTo>
                  <a:lnTo>
                    <a:pt x="10216" y="20765"/>
                  </a:lnTo>
                  <a:cubicBezTo>
                    <a:pt x="12931" y="20717"/>
                    <a:pt x="14181" y="19538"/>
                    <a:pt x="14788" y="19086"/>
                  </a:cubicBezTo>
                  <a:cubicBezTo>
                    <a:pt x="14967" y="18967"/>
                    <a:pt x="15050" y="18872"/>
                    <a:pt x="15050" y="18872"/>
                  </a:cubicBezTo>
                  <a:lnTo>
                    <a:pt x="16003" y="17431"/>
                  </a:lnTo>
                  <a:lnTo>
                    <a:pt x="4263" y="0"/>
                  </a:lnTo>
                  <a:close/>
                </a:path>
              </a:pathLst>
            </a:custGeom>
            <a:solidFill>
              <a:srgbClr val="C6AE6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32" name="Google Shape;1482;p48"/>
            <p:cNvSpPr/>
            <p:nvPr/>
          </p:nvSpPr>
          <p:spPr>
            <a:xfrm>
              <a:off x="4615450" y="2052175"/>
              <a:ext cx="331900" cy="477150"/>
            </a:xfrm>
            <a:custGeom>
              <a:avLst/>
              <a:gdLst/>
              <a:ahLst/>
              <a:cxnLst/>
              <a:rect l="l" t="t" r="r" b="b"/>
              <a:pathLst>
                <a:path w="13276" h="19086" extrusionOk="0">
                  <a:moveTo>
                    <a:pt x="1536" y="0"/>
                  </a:moveTo>
                  <a:lnTo>
                    <a:pt x="0" y="524"/>
                  </a:lnTo>
                  <a:cubicBezTo>
                    <a:pt x="560" y="1143"/>
                    <a:pt x="977" y="1596"/>
                    <a:pt x="977" y="1596"/>
                  </a:cubicBezTo>
                  <a:lnTo>
                    <a:pt x="12061" y="19086"/>
                  </a:lnTo>
                  <a:cubicBezTo>
                    <a:pt x="12240" y="18967"/>
                    <a:pt x="12323" y="18872"/>
                    <a:pt x="12323" y="18872"/>
                  </a:cubicBezTo>
                  <a:lnTo>
                    <a:pt x="13276" y="17431"/>
                  </a:lnTo>
                  <a:lnTo>
                    <a:pt x="1536" y="0"/>
                  </a:lnTo>
                  <a:close/>
                </a:path>
              </a:pathLst>
            </a:custGeom>
            <a:solidFill>
              <a:srgbClr val="877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33" name="Google Shape;1483;p48"/>
            <p:cNvSpPr/>
            <p:nvPr/>
          </p:nvSpPr>
          <p:spPr>
            <a:xfrm>
              <a:off x="4652350" y="2000675"/>
              <a:ext cx="332800" cy="541150"/>
            </a:xfrm>
            <a:custGeom>
              <a:avLst/>
              <a:gdLst/>
              <a:ahLst/>
              <a:cxnLst/>
              <a:rect l="l" t="t" r="r" b="b"/>
              <a:pathLst>
                <a:path w="13312" h="21646" extrusionOk="0">
                  <a:moveTo>
                    <a:pt x="1596" y="0"/>
                  </a:moveTo>
                  <a:lnTo>
                    <a:pt x="429" y="2763"/>
                  </a:lnTo>
                  <a:lnTo>
                    <a:pt x="1" y="3787"/>
                  </a:lnTo>
                  <a:lnTo>
                    <a:pt x="1298" y="5811"/>
                  </a:lnTo>
                  <a:lnTo>
                    <a:pt x="2084" y="5382"/>
                  </a:lnTo>
                  <a:lnTo>
                    <a:pt x="2072" y="6882"/>
                  </a:lnTo>
                  <a:lnTo>
                    <a:pt x="6311" y="13847"/>
                  </a:lnTo>
                  <a:lnTo>
                    <a:pt x="7573" y="13859"/>
                  </a:lnTo>
                  <a:lnTo>
                    <a:pt x="6823" y="14502"/>
                  </a:lnTo>
                  <a:lnTo>
                    <a:pt x="8942" y="17824"/>
                  </a:lnTo>
                  <a:lnTo>
                    <a:pt x="9335" y="17372"/>
                  </a:lnTo>
                  <a:lnTo>
                    <a:pt x="9692" y="19193"/>
                  </a:lnTo>
                  <a:lnTo>
                    <a:pt x="11324" y="21646"/>
                  </a:lnTo>
                  <a:lnTo>
                    <a:pt x="11383" y="21646"/>
                  </a:lnTo>
                  <a:cubicBezTo>
                    <a:pt x="11681" y="21634"/>
                    <a:pt x="12967" y="21467"/>
                    <a:pt x="13312" y="19372"/>
                  </a:cubicBezTo>
                  <a:lnTo>
                    <a:pt x="10788" y="15217"/>
                  </a:lnTo>
                  <a:lnTo>
                    <a:pt x="8049" y="10680"/>
                  </a:lnTo>
                  <a:lnTo>
                    <a:pt x="1596" y="0"/>
                  </a:lnTo>
                  <a:close/>
                </a:path>
              </a:pathLst>
            </a:custGeom>
            <a:solidFill>
              <a:srgbClr val="A9935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34" name="Google Shape;1484;p48"/>
            <p:cNvSpPr/>
            <p:nvPr/>
          </p:nvSpPr>
          <p:spPr>
            <a:xfrm>
              <a:off x="4922025" y="2380775"/>
              <a:ext cx="63125" cy="161050"/>
            </a:xfrm>
            <a:custGeom>
              <a:avLst/>
              <a:gdLst/>
              <a:ahLst/>
              <a:cxnLst/>
              <a:rect l="l" t="t" r="r" b="b"/>
              <a:pathLst>
                <a:path w="2525" h="6442" extrusionOk="0">
                  <a:moveTo>
                    <a:pt x="1" y="1"/>
                  </a:moveTo>
                  <a:lnTo>
                    <a:pt x="1" y="1"/>
                  </a:lnTo>
                  <a:cubicBezTo>
                    <a:pt x="382" y="917"/>
                    <a:pt x="679" y="1870"/>
                    <a:pt x="822" y="2858"/>
                  </a:cubicBezTo>
                  <a:cubicBezTo>
                    <a:pt x="1001" y="4049"/>
                    <a:pt x="977" y="5299"/>
                    <a:pt x="596" y="6442"/>
                  </a:cubicBezTo>
                  <a:cubicBezTo>
                    <a:pt x="894" y="6430"/>
                    <a:pt x="2180" y="6263"/>
                    <a:pt x="2525" y="4156"/>
                  </a:cubicBezTo>
                  <a:lnTo>
                    <a:pt x="1" y="1"/>
                  </a:lnTo>
                  <a:close/>
                </a:path>
              </a:pathLst>
            </a:custGeom>
            <a:solidFill>
              <a:srgbClr val="C6AE6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35" name="Google Shape;1485;p48"/>
            <p:cNvSpPr/>
            <p:nvPr/>
          </p:nvSpPr>
          <p:spPr>
            <a:xfrm>
              <a:off x="4663075" y="2000375"/>
              <a:ext cx="190525" cy="267025"/>
            </a:xfrm>
            <a:custGeom>
              <a:avLst/>
              <a:gdLst/>
              <a:ahLst/>
              <a:cxnLst/>
              <a:rect l="l" t="t" r="r" b="b"/>
              <a:pathLst>
                <a:path w="7621" h="10681" extrusionOk="0">
                  <a:moveTo>
                    <a:pt x="1167" y="1"/>
                  </a:moveTo>
                  <a:lnTo>
                    <a:pt x="0" y="2739"/>
                  </a:lnTo>
                  <a:cubicBezTo>
                    <a:pt x="107" y="2798"/>
                    <a:pt x="215" y="2882"/>
                    <a:pt x="298" y="2953"/>
                  </a:cubicBezTo>
                  <a:cubicBezTo>
                    <a:pt x="1370" y="3858"/>
                    <a:pt x="2346" y="4977"/>
                    <a:pt x="3310" y="5989"/>
                  </a:cubicBezTo>
                  <a:cubicBezTo>
                    <a:pt x="4787" y="7525"/>
                    <a:pt x="6227" y="9085"/>
                    <a:pt x="7620" y="10680"/>
                  </a:cubicBezTo>
                  <a:lnTo>
                    <a:pt x="1167" y="1"/>
                  </a:lnTo>
                  <a:close/>
                </a:path>
              </a:pathLst>
            </a:custGeom>
            <a:solidFill>
              <a:srgbClr val="99825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36" name="Google Shape;1486;p48"/>
            <p:cNvSpPr/>
            <p:nvPr/>
          </p:nvSpPr>
          <p:spPr>
            <a:xfrm>
              <a:off x="4529725" y="1974475"/>
              <a:ext cx="179200" cy="137550"/>
            </a:xfrm>
            <a:custGeom>
              <a:avLst/>
              <a:gdLst/>
              <a:ahLst/>
              <a:cxnLst/>
              <a:rect l="l" t="t" r="r" b="b"/>
              <a:pathLst>
                <a:path w="7168" h="5502" extrusionOk="0">
                  <a:moveTo>
                    <a:pt x="4472" y="0"/>
                  </a:moveTo>
                  <a:cubicBezTo>
                    <a:pt x="3768" y="0"/>
                    <a:pt x="2991" y="224"/>
                    <a:pt x="2274" y="679"/>
                  </a:cubicBezTo>
                  <a:cubicBezTo>
                    <a:pt x="691" y="1679"/>
                    <a:pt x="0" y="3418"/>
                    <a:pt x="727" y="4561"/>
                  </a:cubicBezTo>
                  <a:cubicBezTo>
                    <a:pt x="1128" y="5183"/>
                    <a:pt x="1862" y="5502"/>
                    <a:pt x="2702" y="5502"/>
                  </a:cubicBezTo>
                  <a:cubicBezTo>
                    <a:pt x="3406" y="5502"/>
                    <a:pt x="4184" y="5278"/>
                    <a:pt x="4906" y="4823"/>
                  </a:cubicBezTo>
                  <a:cubicBezTo>
                    <a:pt x="6477" y="3823"/>
                    <a:pt x="7168" y="2084"/>
                    <a:pt x="6442" y="941"/>
                  </a:cubicBezTo>
                  <a:cubicBezTo>
                    <a:pt x="6046" y="319"/>
                    <a:pt x="5312" y="0"/>
                    <a:pt x="4472" y="0"/>
                  </a:cubicBezTo>
                  <a:close/>
                </a:path>
              </a:pathLst>
            </a:custGeom>
            <a:solidFill>
              <a:srgbClr val="D9BE6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37" name="Google Shape;1487;p48"/>
            <p:cNvSpPr/>
            <p:nvPr/>
          </p:nvSpPr>
          <p:spPr>
            <a:xfrm>
              <a:off x="4542225" y="1984375"/>
              <a:ext cx="153600" cy="117850"/>
            </a:xfrm>
            <a:custGeom>
              <a:avLst/>
              <a:gdLst/>
              <a:ahLst/>
              <a:cxnLst/>
              <a:rect l="l" t="t" r="r" b="b"/>
              <a:pathLst>
                <a:path w="6144" h="4714" extrusionOk="0">
                  <a:moveTo>
                    <a:pt x="3834" y="1"/>
                  </a:moveTo>
                  <a:cubicBezTo>
                    <a:pt x="3234" y="1"/>
                    <a:pt x="2570" y="191"/>
                    <a:pt x="1953" y="581"/>
                  </a:cubicBezTo>
                  <a:cubicBezTo>
                    <a:pt x="596" y="1426"/>
                    <a:pt x="0" y="2915"/>
                    <a:pt x="631" y="3903"/>
                  </a:cubicBezTo>
                  <a:cubicBezTo>
                    <a:pt x="968" y="4440"/>
                    <a:pt x="1593" y="4713"/>
                    <a:pt x="2311" y="4713"/>
                  </a:cubicBezTo>
                  <a:cubicBezTo>
                    <a:pt x="2914" y="4713"/>
                    <a:pt x="3584" y="4520"/>
                    <a:pt x="4203" y="4129"/>
                  </a:cubicBezTo>
                  <a:cubicBezTo>
                    <a:pt x="5549" y="3284"/>
                    <a:pt x="6144" y="1795"/>
                    <a:pt x="5525" y="807"/>
                  </a:cubicBezTo>
                  <a:cubicBezTo>
                    <a:pt x="5181" y="275"/>
                    <a:pt x="4553" y="1"/>
                    <a:pt x="3834" y="1"/>
                  </a:cubicBezTo>
                  <a:close/>
                </a:path>
              </a:pathLst>
            </a:custGeom>
            <a:solidFill>
              <a:srgbClr val="A9935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38" name="Google Shape;1488;p48"/>
            <p:cNvSpPr/>
            <p:nvPr/>
          </p:nvSpPr>
          <p:spPr>
            <a:xfrm>
              <a:off x="4553525" y="1992700"/>
              <a:ext cx="131300" cy="101100"/>
            </a:xfrm>
            <a:custGeom>
              <a:avLst/>
              <a:gdLst/>
              <a:ahLst/>
              <a:cxnLst/>
              <a:rect l="l" t="t" r="r" b="b"/>
              <a:pathLst>
                <a:path w="5252" h="4044" extrusionOk="0">
                  <a:moveTo>
                    <a:pt x="3262" y="0"/>
                  </a:moveTo>
                  <a:cubicBezTo>
                    <a:pt x="2750" y="0"/>
                    <a:pt x="2186" y="164"/>
                    <a:pt x="1668" y="498"/>
                  </a:cubicBezTo>
                  <a:cubicBezTo>
                    <a:pt x="501" y="1236"/>
                    <a:pt x="1" y="2510"/>
                    <a:pt x="537" y="3344"/>
                  </a:cubicBezTo>
                  <a:cubicBezTo>
                    <a:pt x="815" y="3809"/>
                    <a:pt x="1346" y="4043"/>
                    <a:pt x="1960" y="4043"/>
                  </a:cubicBezTo>
                  <a:cubicBezTo>
                    <a:pt x="2476" y="4043"/>
                    <a:pt x="3052" y="3878"/>
                    <a:pt x="3585" y="3546"/>
                  </a:cubicBezTo>
                  <a:cubicBezTo>
                    <a:pt x="4740" y="2808"/>
                    <a:pt x="5251" y="1534"/>
                    <a:pt x="4716" y="700"/>
                  </a:cubicBezTo>
                  <a:cubicBezTo>
                    <a:pt x="4423" y="238"/>
                    <a:pt x="3880" y="0"/>
                    <a:pt x="3262" y="0"/>
                  </a:cubicBezTo>
                  <a:close/>
                </a:path>
              </a:pathLst>
            </a:custGeom>
            <a:solidFill>
              <a:srgbClr val="D9BE6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39" name="Google Shape;1489;p48"/>
            <p:cNvSpPr/>
            <p:nvPr/>
          </p:nvSpPr>
          <p:spPr>
            <a:xfrm>
              <a:off x="4562475" y="1999625"/>
              <a:ext cx="113725" cy="87675"/>
            </a:xfrm>
            <a:custGeom>
              <a:avLst/>
              <a:gdLst/>
              <a:ahLst/>
              <a:cxnLst/>
              <a:rect l="l" t="t" r="r" b="b"/>
              <a:pathLst>
                <a:path w="4549" h="3507" extrusionOk="0">
                  <a:moveTo>
                    <a:pt x="2832" y="1"/>
                  </a:moveTo>
                  <a:cubicBezTo>
                    <a:pt x="2390" y="1"/>
                    <a:pt x="1901" y="143"/>
                    <a:pt x="1441" y="435"/>
                  </a:cubicBezTo>
                  <a:cubicBezTo>
                    <a:pt x="429" y="1078"/>
                    <a:pt x="0" y="2174"/>
                    <a:pt x="452" y="2912"/>
                  </a:cubicBezTo>
                  <a:cubicBezTo>
                    <a:pt x="704" y="3305"/>
                    <a:pt x="1168" y="3506"/>
                    <a:pt x="1699" y="3506"/>
                  </a:cubicBezTo>
                  <a:cubicBezTo>
                    <a:pt x="2150" y="3506"/>
                    <a:pt x="2649" y="3362"/>
                    <a:pt x="3108" y="3067"/>
                  </a:cubicBezTo>
                  <a:cubicBezTo>
                    <a:pt x="4120" y="2436"/>
                    <a:pt x="4548" y="1328"/>
                    <a:pt x="4084" y="602"/>
                  </a:cubicBezTo>
                  <a:cubicBezTo>
                    <a:pt x="3824" y="206"/>
                    <a:pt x="3362" y="1"/>
                    <a:pt x="2832" y="1"/>
                  </a:cubicBezTo>
                  <a:close/>
                </a:path>
              </a:pathLst>
            </a:custGeom>
            <a:solidFill>
              <a:srgbClr val="A9935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40" name="Google Shape;1490;p48"/>
            <p:cNvSpPr/>
            <p:nvPr/>
          </p:nvSpPr>
          <p:spPr>
            <a:xfrm>
              <a:off x="4573175" y="2007525"/>
              <a:ext cx="92300" cy="71450"/>
            </a:xfrm>
            <a:custGeom>
              <a:avLst/>
              <a:gdLst/>
              <a:ahLst/>
              <a:cxnLst/>
              <a:rect l="l" t="t" r="r" b="b"/>
              <a:pathLst>
                <a:path w="3692" h="2858" extrusionOk="0">
                  <a:moveTo>
                    <a:pt x="2303" y="0"/>
                  </a:moveTo>
                  <a:cubicBezTo>
                    <a:pt x="1937" y="0"/>
                    <a:pt x="1531" y="118"/>
                    <a:pt x="1156" y="357"/>
                  </a:cubicBezTo>
                  <a:cubicBezTo>
                    <a:pt x="358" y="881"/>
                    <a:pt x="1" y="1774"/>
                    <a:pt x="370" y="2370"/>
                  </a:cubicBezTo>
                  <a:cubicBezTo>
                    <a:pt x="570" y="2693"/>
                    <a:pt x="949" y="2858"/>
                    <a:pt x="1383" y="2858"/>
                  </a:cubicBezTo>
                  <a:cubicBezTo>
                    <a:pt x="1749" y="2858"/>
                    <a:pt x="2154" y="2740"/>
                    <a:pt x="2525" y="2501"/>
                  </a:cubicBezTo>
                  <a:cubicBezTo>
                    <a:pt x="3334" y="1977"/>
                    <a:pt x="3692" y="1084"/>
                    <a:pt x="3322" y="488"/>
                  </a:cubicBezTo>
                  <a:cubicBezTo>
                    <a:pt x="3116" y="165"/>
                    <a:pt x="2737" y="0"/>
                    <a:pt x="2303" y="0"/>
                  </a:cubicBezTo>
                  <a:close/>
                </a:path>
              </a:pathLst>
            </a:custGeom>
            <a:solidFill>
              <a:srgbClr val="D9BE6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41" name="Google Shape;1491;p48"/>
            <p:cNvSpPr/>
            <p:nvPr/>
          </p:nvSpPr>
          <p:spPr>
            <a:xfrm>
              <a:off x="4582700" y="2014000"/>
              <a:ext cx="71175" cy="55875"/>
            </a:xfrm>
            <a:custGeom>
              <a:avLst/>
              <a:gdLst/>
              <a:ahLst/>
              <a:cxnLst/>
              <a:rect l="l" t="t" r="r" b="b"/>
              <a:pathLst>
                <a:path w="2847" h="2235" extrusionOk="0">
                  <a:moveTo>
                    <a:pt x="1724" y="0"/>
                  </a:moveTo>
                  <a:cubicBezTo>
                    <a:pt x="1449" y="0"/>
                    <a:pt x="1150" y="86"/>
                    <a:pt x="882" y="265"/>
                  </a:cubicBezTo>
                  <a:cubicBezTo>
                    <a:pt x="274" y="670"/>
                    <a:pt x="1" y="1361"/>
                    <a:pt x="298" y="1837"/>
                  </a:cubicBezTo>
                  <a:cubicBezTo>
                    <a:pt x="466" y="2098"/>
                    <a:pt x="776" y="2235"/>
                    <a:pt x="1126" y="2235"/>
                  </a:cubicBezTo>
                  <a:cubicBezTo>
                    <a:pt x="1398" y="2235"/>
                    <a:pt x="1694" y="2152"/>
                    <a:pt x="1965" y="1980"/>
                  </a:cubicBezTo>
                  <a:cubicBezTo>
                    <a:pt x="2584" y="1575"/>
                    <a:pt x="2846" y="872"/>
                    <a:pt x="2549" y="396"/>
                  </a:cubicBezTo>
                  <a:cubicBezTo>
                    <a:pt x="2383" y="137"/>
                    <a:pt x="2072" y="0"/>
                    <a:pt x="1724" y="0"/>
                  </a:cubicBezTo>
                  <a:close/>
                </a:path>
              </a:pathLst>
            </a:custGeom>
            <a:solidFill>
              <a:srgbClr val="A9935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42" name="Google Shape;1492;p48"/>
            <p:cNvSpPr/>
            <p:nvPr/>
          </p:nvSpPr>
          <p:spPr>
            <a:xfrm>
              <a:off x="4593125" y="2022125"/>
              <a:ext cx="50625" cy="40025"/>
            </a:xfrm>
            <a:custGeom>
              <a:avLst/>
              <a:gdLst/>
              <a:ahLst/>
              <a:cxnLst/>
              <a:rect l="l" t="t" r="r" b="b"/>
              <a:pathLst>
                <a:path w="2025" h="1601" extrusionOk="0">
                  <a:moveTo>
                    <a:pt x="1226" y="1"/>
                  </a:moveTo>
                  <a:cubicBezTo>
                    <a:pt x="1032" y="1"/>
                    <a:pt x="823" y="61"/>
                    <a:pt x="631" y="190"/>
                  </a:cubicBezTo>
                  <a:cubicBezTo>
                    <a:pt x="179" y="476"/>
                    <a:pt x="0" y="976"/>
                    <a:pt x="215" y="1309"/>
                  </a:cubicBezTo>
                  <a:cubicBezTo>
                    <a:pt x="262" y="1369"/>
                    <a:pt x="298" y="1428"/>
                    <a:pt x="358" y="1464"/>
                  </a:cubicBezTo>
                  <a:cubicBezTo>
                    <a:pt x="480" y="1553"/>
                    <a:pt x="638" y="1600"/>
                    <a:pt x="808" y="1600"/>
                  </a:cubicBezTo>
                  <a:cubicBezTo>
                    <a:pt x="1003" y="1600"/>
                    <a:pt x="1215" y="1538"/>
                    <a:pt x="1405" y="1405"/>
                  </a:cubicBezTo>
                  <a:cubicBezTo>
                    <a:pt x="1846" y="1131"/>
                    <a:pt x="2024" y="643"/>
                    <a:pt x="1822" y="297"/>
                  </a:cubicBezTo>
                  <a:cubicBezTo>
                    <a:pt x="1798" y="262"/>
                    <a:pt x="1774" y="238"/>
                    <a:pt x="1762" y="214"/>
                  </a:cubicBezTo>
                  <a:cubicBezTo>
                    <a:pt x="1637" y="76"/>
                    <a:pt x="1442" y="1"/>
                    <a:pt x="1226" y="1"/>
                  </a:cubicBezTo>
                  <a:close/>
                </a:path>
              </a:pathLst>
            </a:custGeom>
            <a:solidFill>
              <a:srgbClr val="D9BE6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43" name="Google Shape;1493;p48"/>
            <p:cNvSpPr/>
            <p:nvPr/>
          </p:nvSpPr>
          <p:spPr>
            <a:xfrm>
              <a:off x="4593125" y="2022025"/>
              <a:ext cx="44075" cy="36125"/>
            </a:xfrm>
            <a:custGeom>
              <a:avLst/>
              <a:gdLst/>
              <a:ahLst/>
              <a:cxnLst/>
              <a:rect l="l" t="t" r="r" b="b"/>
              <a:pathLst>
                <a:path w="1763" h="1445" extrusionOk="0">
                  <a:moveTo>
                    <a:pt x="1210" y="1"/>
                  </a:moveTo>
                  <a:cubicBezTo>
                    <a:pt x="1021" y="1"/>
                    <a:pt x="817" y="55"/>
                    <a:pt x="631" y="170"/>
                  </a:cubicBezTo>
                  <a:cubicBezTo>
                    <a:pt x="179" y="444"/>
                    <a:pt x="0" y="956"/>
                    <a:pt x="215" y="1278"/>
                  </a:cubicBezTo>
                  <a:cubicBezTo>
                    <a:pt x="250" y="1337"/>
                    <a:pt x="298" y="1397"/>
                    <a:pt x="358" y="1444"/>
                  </a:cubicBezTo>
                  <a:cubicBezTo>
                    <a:pt x="393" y="1361"/>
                    <a:pt x="429" y="1266"/>
                    <a:pt x="512" y="1182"/>
                  </a:cubicBezTo>
                  <a:cubicBezTo>
                    <a:pt x="587" y="1282"/>
                    <a:pt x="714" y="1333"/>
                    <a:pt x="858" y="1333"/>
                  </a:cubicBezTo>
                  <a:cubicBezTo>
                    <a:pt x="988" y="1333"/>
                    <a:pt x="1132" y="1291"/>
                    <a:pt x="1262" y="1206"/>
                  </a:cubicBezTo>
                  <a:cubicBezTo>
                    <a:pt x="1560" y="1016"/>
                    <a:pt x="1703" y="670"/>
                    <a:pt x="1548" y="444"/>
                  </a:cubicBezTo>
                  <a:lnTo>
                    <a:pt x="1501" y="397"/>
                  </a:lnTo>
                  <a:cubicBezTo>
                    <a:pt x="1584" y="349"/>
                    <a:pt x="1667" y="266"/>
                    <a:pt x="1762" y="218"/>
                  </a:cubicBezTo>
                  <a:cubicBezTo>
                    <a:pt x="1634" y="76"/>
                    <a:pt x="1432" y="1"/>
                    <a:pt x="1210" y="1"/>
                  </a:cubicBezTo>
                  <a:close/>
                </a:path>
              </a:pathLst>
            </a:custGeom>
            <a:solidFill>
              <a:srgbClr val="A9935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44" name="Google Shape;1494;p48"/>
            <p:cNvSpPr/>
            <p:nvPr/>
          </p:nvSpPr>
          <p:spPr>
            <a:xfrm>
              <a:off x="4566325" y="2123900"/>
              <a:ext cx="184875" cy="349475"/>
            </a:xfrm>
            <a:custGeom>
              <a:avLst/>
              <a:gdLst/>
              <a:ahLst/>
              <a:cxnLst/>
              <a:rect l="l" t="t" r="r" b="b"/>
              <a:pathLst>
                <a:path w="7395" h="13979" extrusionOk="0">
                  <a:moveTo>
                    <a:pt x="1" y="1"/>
                  </a:moveTo>
                  <a:lnTo>
                    <a:pt x="7395" y="13979"/>
                  </a:lnTo>
                  <a:cubicBezTo>
                    <a:pt x="7395" y="13907"/>
                    <a:pt x="7383" y="13836"/>
                    <a:pt x="7383" y="13752"/>
                  </a:cubicBezTo>
                  <a:cubicBezTo>
                    <a:pt x="7061" y="8395"/>
                    <a:pt x="4263" y="3263"/>
                    <a:pt x="1" y="1"/>
                  </a:cubicBezTo>
                  <a:close/>
                </a:path>
              </a:pathLst>
            </a:custGeom>
            <a:solidFill>
              <a:srgbClr val="D9BE6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45" name="Google Shape;1495;p48"/>
            <p:cNvSpPr/>
            <p:nvPr/>
          </p:nvSpPr>
          <p:spPr>
            <a:xfrm>
              <a:off x="4692550" y="2275075"/>
              <a:ext cx="194975" cy="127150"/>
            </a:xfrm>
            <a:custGeom>
              <a:avLst/>
              <a:gdLst/>
              <a:ahLst/>
              <a:cxnLst/>
              <a:rect l="l" t="t" r="r" b="b"/>
              <a:pathLst>
                <a:path w="7799" h="5086" extrusionOk="0">
                  <a:moveTo>
                    <a:pt x="6797" y="0"/>
                  </a:moveTo>
                  <a:cubicBezTo>
                    <a:pt x="6678" y="0"/>
                    <a:pt x="6596" y="26"/>
                    <a:pt x="6596" y="26"/>
                  </a:cubicBezTo>
                  <a:cubicBezTo>
                    <a:pt x="4931" y="3710"/>
                    <a:pt x="1636" y="4028"/>
                    <a:pt x="548" y="4028"/>
                  </a:cubicBezTo>
                  <a:cubicBezTo>
                    <a:pt x="321" y="4028"/>
                    <a:pt x="191" y="4014"/>
                    <a:pt x="191" y="4014"/>
                  </a:cubicBezTo>
                  <a:cubicBezTo>
                    <a:pt x="48" y="4288"/>
                    <a:pt x="0" y="4491"/>
                    <a:pt x="36" y="4645"/>
                  </a:cubicBezTo>
                  <a:cubicBezTo>
                    <a:pt x="107" y="5086"/>
                    <a:pt x="750" y="5086"/>
                    <a:pt x="750" y="5086"/>
                  </a:cubicBezTo>
                  <a:cubicBezTo>
                    <a:pt x="750" y="5086"/>
                    <a:pt x="2953" y="4955"/>
                    <a:pt x="4167" y="4288"/>
                  </a:cubicBezTo>
                  <a:cubicBezTo>
                    <a:pt x="5394" y="3598"/>
                    <a:pt x="7799" y="1014"/>
                    <a:pt x="7513" y="431"/>
                  </a:cubicBezTo>
                  <a:cubicBezTo>
                    <a:pt x="7394" y="204"/>
                    <a:pt x="7215" y="85"/>
                    <a:pt x="7072" y="50"/>
                  </a:cubicBezTo>
                  <a:cubicBezTo>
                    <a:pt x="6972" y="12"/>
                    <a:pt x="6876" y="0"/>
                    <a:pt x="6797" y="0"/>
                  </a:cubicBezTo>
                  <a:close/>
                </a:path>
              </a:pathLst>
            </a:custGeom>
            <a:solidFill>
              <a:srgbClr val="A2633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46" name="Google Shape;1496;p48"/>
            <p:cNvSpPr/>
            <p:nvPr/>
          </p:nvSpPr>
          <p:spPr>
            <a:xfrm>
              <a:off x="4692250" y="2275075"/>
              <a:ext cx="176825" cy="118475"/>
            </a:xfrm>
            <a:custGeom>
              <a:avLst/>
              <a:gdLst/>
              <a:ahLst/>
              <a:cxnLst/>
              <a:rect l="l" t="t" r="r" b="b"/>
              <a:pathLst>
                <a:path w="7073" h="4739" extrusionOk="0">
                  <a:moveTo>
                    <a:pt x="6792" y="0"/>
                  </a:moveTo>
                  <a:cubicBezTo>
                    <a:pt x="6673" y="0"/>
                    <a:pt x="6596" y="26"/>
                    <a:pt x="6596" y="26"/>
                  </a:cubicBezTo>
                  <a:cubicBezTo>
                    <a:pt x="4931" y="3710"/>
                    <a:pt x="1636" y="4028"/>
                    <a:pt x="548" y="4028"/>
                  </a:cubicBezTo>
                  <a:cubicBezTo>
                    <a:pt x="321" y="4028"/>
                    <a:pt x="191" y="4014"/>
                    <a:pt x="191" y="4014"/>
                  </a:cubicBezTo>
                  <a:cubicBezTo>
                    <a:pt x="48" y="4288"/>
                    <a:pt x="0" y="4491"/>
                    <a:pt x="24" y="4645"/>
                  </a:cubicBezTo>
                  <a:cubicBezTo>
                    <a:pt x="307" y="4710"/>
                    <a:pt x="601" y="4739"/>
                    <a:pt x="897" y="4739"/>
                  </a:cubicBezTo>
                  <a:cubicBezTo>
                    <a:pt x="2022" y="4739"/>
                    <a:pt x="3193" y="4324"/>
                    <a:pt x="4013" y="3871"/>
                  </a:cubicBezTo>
                  <a:cubicBezTo>
                    <a:pt x="4703" y="3479"/>
                    <a:pt x="5263" y="2931"/>
                    <a:pt x="5775" y="2324"/>
                  </a:cubicBezTo>
                  <a:cubicBezTo>
                    <a:pt x="6358" y="1633"/>
                    <a:pt x="6894" y="919"/>
                    <a:pt x="7072" y="50"/>
                  </a:cubicBezTo>
                  <a:cubicBezTo>
                    <a:pt x="6968" y="12"/>
                    <a:pt x="6871" y="0"/>
                    <a:pt x="6792" y="0"/>
                  </a:cubicBezTo>
                  <a:close/>
                </a:path>
              </a:pathLst>
            </a:custGeom>
            <a:solidFill>
              <a:srgbClr val="90502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47" name="Google Shape;1497;p48"/>
            <p:cNvSpPr/>
            <p:nvPr/>
          </p:nvSpPr>
          <p:spPr>
            <a:xfrm>
              <a:off x="4837800" y="2174975"/>
              <a:ext cx="89900" cy="104325"/>
            </a:xfrm>
            <a:custGeom>
              <a:avLst/>
              <a:gdLst/>
              <a:ahLst/>
              <a:cxnLst/>
              <a:rect l="l" t="t" r="r" b="b"/>
              <a:pathLst>
                <a:path w="3596" h="4173" extrusionOk="0">
                  <a:moveTo>
                    <a:pt x="2166" y="1"/>
                  </a:moveTo>
                  <a:cubicBezTo>
                    <a:pt x="1852" y="1"/>
                    <a:pt x="1629" y="170"/>
                    <a:pt x="1620" y="315"/>
                  </a:cubicBezTo>
                  <a:cubicBezTo>
                    <a:pt x="1608" y="565"/>
                    <a:pt x="1751" y="1053"/>
                    <a:pt x="1334" y="2053"/>
                  </a:cubicBezTo>
                  <a:cubicBezTo>
                    <a:pt x="917" y="3065"/>
                    <a:pt x="131" y="3661"/>
                    <a:pt x="131" y="3661"/>
                  </a:cubicBezTo>
                  <a:cubicBezTo>
                    <a:pt x="131" y="3673"/>
                    <a:pt x="119" y="3685"/>
                    <a:pt x="119" y="3708"/>
                  </a:cubicBezTo>
                  <a:cubicBezTo>
                    <a:pt x="0" y="4054"/>
                    <a:pt x="381" y="4173"/>
                    <a:pt x="381" y="4173"/>
                  </a:cubicBezTo>
                  <a:cubicBezTo>
                    <a:pt x="381" y="4173"/>
                    <a:pt x="858" y="3875"/>
                    <a:pt x="1512" y="3292"/>
                  </a:cubicBezTo>
                  <a:cubicBezTo>
                    <a:pt x="2167" y="2708"/>
                    <a:pt x="2917" y="1470"/>
                    <a:pt x="3048" y="1232"/>
                  </a:cubicBezTo>
                  <a:cubicBezTo>
                    <a:pt x="3179" y="994"/>
                    <a:pt x="3596" y="839"/>
                    <a:pt x="2929" y="303"/>
                  </a:cubicBezTo>
                  <a:cubicBezTo>
                    <a:pt x="2751" y="160"/>
                    <a:pt x="2560" y="77"/>
                    <a:pt x="2393" y="29"/>
                  </a:cubicBezTo>
                  <a:cubicBezTo>
                    <a:pt x="2314" y="9"/>
                    <a:pt x="2237" y="1"/>
                    <a:pt x="2166" y="1"/>
                  </a:cubicBezTo>
                  <a:close/>
                </a:path>
              </a:pathLst>
            </a:custGeom>
            <a:solidFill>
              <a:srgbClr val="90502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48" name="Google Shape;1498;p48"/>
            <p:cNvSpPr/>
            <p:nvPr/>
          </p:nvSpPr>
          <p:spPr>
            <a:xfrm>
              <a:off x="4840775" y="2174975"/>
              <a:ext cx="57475" cy="92725"/>
            </a:xfrm>
            <a:custGeom>
              <a:avLst/>
              <a:gdLst/>
              <a:ahLst/>
              <a:cxnLst/>
              <a:rect l="l" t="t" r="r" b="b"/>
              <a:pathLst>
                <a:path w="2299" h="3709" extrusionOk="0">
                  <a:moveTo>
                    <a:pt x="2042" y="1"/>
                  </a:moveTo>
                  <a:cubicBezTo>
                    <a:pt x="1725" y="1"/>
                    <a:pt x="1510" y="170"/>
                    <a:pt x="1501" y="315"/>
                  </a:cubicBezTo>
                  <a:cubicBezTo>
                    <a:pt x="1477" y="565"/>
                    <a:pt x="1632" y="1053"/>
                    <a:pt x="1215" y="2053"/>
                  </a:cubicBezTo>
                  <a:cubicBezTo>
                    <a:pt x="798" y="3065"/>
                    <a:pt x="12" y="3661"/>
                    <a:pt x="12" y="3661"/>
                  </a:cubicBezTo>
                  <a:cubicBezTo>
                    <a:pt x="12" y="3673"/>
                    <a:pt x="0" y="3696"/>
                    <a:pt x="0" y="3708"/>
                  </a:cubicBezTo>
                  <a:cubicBezTo>
                    <a:pt x="798" y="3363"/>
                    <a:pt x="1465" y="2744"/>
                    <a:pt x="1870" y="1946"/>
                  </a:cubicBezTo>
                  <a:cubicBezTo>
                    <a:pt x="2167" y="1351"/>
                    <a:pt x="2298" y="684"/>
                    <a:pt x="2274" y="29"/>
                  </a:cubicBezTo>
                  <a:cubicBezTo>
                    <a:pt x="2193" y="9"/>
                    <a:pt x="2115" y="1"/>
                    <a:pt x="2042" y="1"/>
                  </a:cubicBezTo>
                  <a:close/>
                </a:path>
              </a:pathLst>
            </a:custGeom>
            <a:solidFill>
              <a:srgbClr val="7C402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49" name="Google Shape;1499;p48"/>
            <p:cNvSpPr/>
            <p:nvPr/>
          </p:nvSpPr>
          <p:spPr>
            <a:xfrm>
              <a:off x="4800600" y="2148350"/>
              <a:ext cx="64600" cy="114550"/>
            </a:xfrm>
            <a:custGeom>
              <a:avLst/>
              <a:gdLst/>
              <a:ahLst/>
              <a:cxnLst/>
              <a:rect l="l" t="t" r="r" b="b"/>
              <a:pathLst>
                <a:path w="2584" h="4582" extrusionOk="0">
                  <a:moveTo>
                    <a:pt x="1078" y="1"/>
                  </a:moveTo>
                  <a:cubicBezTo>
                    <a:pt x="948" y="1"/>
                    <a:pt x="828" y="26"/>
                    <a:pt x="750" y="82"/>
                  </a:cubicBezTo>
                  <a:cubicBezTo>
                    <a:pt x="714" y="118"/>
                    <a:pt x="679" y="142"/>
                    <a:pt x="655" y="178"/>
                  </a:cubicBezTo>
                  <a:cubicBezTo>
                    <a:pt x="500" y="308"/>
                    <a:pt x="452" y="392"/>
                    <a:pt x="250" y="606"/>
                  </a:cubicBezTo>
                  <a:cubicBezTo>
                    <a:pt x="0" y="856"/>
                    <a:pt x="155" y="856"/>
                    <a:pt x="155" y="951"/>
                  </a:cubicBezTo>
                  <a:cubicBezTo>
                    <a:pt x="155" y="1023"/>
                    <a:pt x="417" y="856"/>
                    <a:pt x="1024" y="1963"/>
                  </a:cubicBezTo>
                  <a:cubicBezTo>
                    <a:pt x="1310" y="2475"/>
                    <a:pt x="1488" y="2999"/>
                    <a:pt x="1607" y="3404"/>
                  </a:cubicBezTo>
                  <a:cubicBezTo>
                    <a:pt x="1726" y="3845"/>
                    <a:pt x="1762" y="4166"/>
                    <a:pt x="1762" y="4166"/>
                  </a:cubicBezTo>
                  <a:cubicBezTo>
                    <a:pt x="1842" y="4506"/>
                    <a:pt x="2057" y="4581"/>
                    <a:pt x="2230" y="4581"/>
                  </a:cubicBezTo>
                  <a:cubicBezTo>
                    <a:pt x="2366" y="4581"/>
                    <a:pt x="2477" y="4535"/>
                    <a:pt x="2477" y="4535"/>
                  </a:cubicBezTo>
                  <a:cubicBezTo>
                    <a:pt x="2584" y="3487"/>
                    <a:pt x="1881" y="1428"/>
                    <a:pt x="1869" y="1344"/>
                  </a:cubicBezTo>
                  <a:cubicBezTo>
                    <a:pt x="1822" y="1261"/>
                    <a:pt x="1726" y="618"/>
                    <a:pt x="1738" y="332"/>
                  </a:cubicBezTo>
                  <a:cubicBezTo>
                    <a:pt x="1747" y="140"/>
                    <a:pt x="1385" y="1"/>
                    <a:pt x="1078" y="1"/>
                  </a:cubicBezTo>
                  <a:close/>
                </a:path>
              </a:pathLst>
            </a:custGeom>
            <a:solidFill>
              <a:srgbClr val="90502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0" name="Google Shape;1500;p48"/>
            <p:cNvSpPr/>
            <p:nvPr/>
          </p:nvSpPr>
          <p:spPr>
            <a:xfrm>
              <a:off x="4800000" y="2152775"/>
              <a:ext cx="41700" cy="80700"/>
            </a:xfrm>
            <a:custGeom>
              <a:avLst/>
              <a:gdLst/>
              <a:ahLst/>
              <a:cxnLst/>
              <a:rect l="l" t="t" r="r" b="b"/>
              <a:pathLst>
                <a:path w="1668" h="3228" extrusionOk="0">
                  <a:moveTo>
                    <a:pt x="655" y="1"/>
                  </a:moveTo>
                  <a:cubicBezTo>
                    <a:pt x="512" y="131"/>
                    <a:pt x="465" y="215"/>
                    <a:pt x="262" y="429"/>
                  </a:cubicBezTo>
                  <a:cubicBezTo>
                    <a:pt x="0" y="679"/>
                    <a:pt x="167" y="679"/>
                    <a:pt x="167" y="774"/>
                  </a:cubicBezTo>
                  <a:cubicBezTo>
                    <a:pt x="167" y="846"/>
                    <a:pt x="417" y="679"/>
                    <a:pt x="1036" y="1786"/>
                  </a:cubicBezTo>
                  <a:cubicBezTo>
                    <a:pt x="1310" y="2298"/>
                    <a:pt x="1488" y="2822"/>
                    <a:pt x="1608" y="3227"/>
                  </a:cubicBezTo>
                  <a:cubicBezTo>
                    <a:pt x="1667" y="2263"/>
                    <a:pt x="1453" y="1274"/>
                    <a:pt x="941" y="429"/>
                  </a:cubicBezTo>
                  <a:cubicBezTo>
                    <a:pt x="869" y="274"/>
                    <a:pt x="762" y="131"/>
                    <a:pt x="655" y="1"/>
                  </a:cubicBezTo>
                  <a:close/>
                </a:path>
              </a:pathLst>
            </a:custGeom>
            <a:solidFill>
              <a:srgbClr val="A2633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1" name="Google Shape;1501;p48"/>
            <p:cNvSpPr/>
            <p:nvPr/>
          </p:nvSpPr>
          <p:spPr>
            <a:xfrm>
              <a:off x="4680625" y="2251525"/>
              <a:ext cx="197375" cy="126900"/>
            </a:xfrm>
            <a:custGeom>
              <a:avLst/>
              <a:gdLst/>
              <a:ahLst/>
              <a:cxnLst/>
              <a:rect l="l" t="t" r="r" b="b"/>
              <a:pathLst>
                <a:path w="7895" h="5076" extrusionOk="0">
                  <a:moveTo>
                    <a:pt x="6863" y="1"/>
                  </a:moveTo>
                  <a:cubicBezTo>
                    <a:pt x="6697" y="1"/>
                    <a:pt x="6573" y="39"/>
                    <a:pt x="6573" y="39"/>
                  </a:cubicBezTo>
                  <a:cubicBezTo>
                    <a:pt x="6335" y="551"/>
                    <a:pt x="6073" y="1015"/>
                    <a:pt x="5775" y="1420"/>
                  </a:cubicBezTo>
                  <a:cubicBezTo>
                    <a:pt x="4042" y="3779"/>
                    <a:pt x="1570" y="4020"/>
                    <a:pt x="632" y="4020"/>
                  </a:cubicBezTo>
                  <a:cubicBezTo>
                    <a:pt x="391" y="4020"/>
                    <a:pt x="251" y="4004"/>
                    <a:pt x="251" y="4004"/>
                  </a:cubicBezTo>
                  <a:cubicBezTo>
                    <a:pt x="1" y="4480"/>
                    <a:pt x="72" y="4742"/>
                    <a:pt x="239" y="4885"/>
                  </a:cubicBezTo>
                  <a:cubicBezTo>
                    <a:pt x="453" y="5075"/>
                    <a:pt x="822" y="5075"/>
                    <a:pt x="822" y="5075"/>
                  </a:cubicBezTo>
                  <a:cubicBezTo>
                    <a:pt x="822" y="5075"/>
                    <a:pt x="3025" y="4944"/>
                    <a:pt x="4239" y="4278"/>
                  </a:cubicBezTo>
                  <a:cubicBezTo>
                    <a:pt x="5466" y="3587"/>
                    <a:pt x="7895" y="992"/>
                    <a:pt x="7573" y="408"/>
                  </a:cubicBezTo>
                  <a:cubicBezTo>
                    <a:pt x="7395" y="72"/>
                    <a:pt x="7090" y="1"/>
                    <a:pt x="6863" y="1"/>
                  </a:cubicBezTo>
                  <a:close/>
                </a:path>
              </a:pathLst>
            </a:custGeom>
            <a:solidFill>
              <a:srgbClr val="A2633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2" name="Google Shape;1502;p48"/>
            <p:cNvSpPr/>
            <p:nvPr/>
          </p:nvSpPr>
          <p:spPr>
            <a:xfrm>
              <a:off x="4680625" y="2287025"/>
              <a:ext cx="144100" cy="86625"/>
            </a:xfrm>
            <a:custGeom>
              <a:avLst/>
              <a:gdLst/>
              <a:ahLst/>
              <a:cxnLst/>
              <a:rect l="l" t="t" r="r" b="b"/>
              <a:pathLst>
                <a:path w="5764" h="3465" extrusionOk="0">
                  <a:moveTo>
                    <a:pt x="251" y="2584"/>
                  </a:moveTo>
                  <a:lnTo>
                    <a:pt x="251" y="2584"/>
                  </a:lnTo>
                  <a:cubicBezTo>
                    <a:pt x="251" y="2584"/>
                    <a:pt x="251" y="2584"/>
                    <a:pt x="251" y="2584"/>
                  </a:cubicBezTo>
                  <a:lnTo>
                    <a:pt x="251" y="2584"/>
                  </a:lnTo>
                  <a:cubicBezTo>
                    <a:pt x="251" y="2584"/>
                    <a:pt x="251" y="2584"/>
                    <a:pt x="251" y="2584"/>
                  </a:cubicBezTo>
                  <a:close/>
                  <a:moveTo>
                    <a:pt x="5763" y="0"/>
                  </a:moveTo>
                  <a:cubicBezTo>
                    <a:pt x="4030" y="2359"/>
                    <a:pt x="1558" y="2600"/>
                    <a:pt x="626" y="2600"/>
                  </a:cubicBezTo>
                  <a:cubicBezTo>
                    <a:pt x="390" y="2600"/>
                    <a:pt x="253" y="2584"/>
                    <a:pt x="251" y="2584"/>
                  </a:cubicBezTo>
                  <a:lnTo>
                    <a:pt x="251" y="2584"/>
                  </a:lnTo>
                  <a:cubicBezTo>
                    <a:pt x="1" y="3060"/>
                    <a:pt x="72" y="3322"/>
                    <a:pt x="239" y="3465"/>
                  </a:cubicBezTo>
                  <a:cubicBezTo>
                    <a:pt x="548" y="3453"/>
                    <a:pt x="870" y="3405"/>
                    <a:pt x="1072" y="3393"/>
                  </a:cubicBezTo>
                  <a:cubicBezTo>
                    <a:pt x="1727" y="3334"/>
                    <a:pt x="2394" y="3215"/>
                    <a:pt x="2977" y="2905"/>
                  </a:cubicBezTo>
                  <a:cubicBezTo>
                    <a:pt x="3525" y="2608"/>
                    <a:pt x="4025" y="2167"/>
                    <a:pt x="4466" y="1727"/>
                  </a:cubicBezTo>
                  <a:cubicBezTo>
                    <a:pt x="4978" y="1203"/>
                    <a:pt x="5406" y="619"/>
                    <a:pt x="5763" y="0"/>
                  </a:cubicBezTo>
                  <a:close/>
                </a:path>
              </a:pathLst>
            </a:custGeom>
            <a:solidFill>
              <a:srgbClr val="B8745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grpSp>
      <p:pic>
        <p:nvPicPr>
          <p:cNvPr id="3" name="Picture 2"/>
          <p:cNvPicPr>
            <a:picLocks noChangeAspect="1"/>
          </p:cNvPicPr>
          <p:nvPr/>
        </p:nvPicPr>
        <p:blipFill>
          <a:blip r:embed="rId3"/>
          <a:stretch>
            <a:fillRect/>
          </a:stretch>
        </p:blipFill>
        <p:spPr>
          <a:xfrm>
            <a:off x="1572110" y="5677388"/>
            <a:ext cx="4286254" cy="4246258"/>
          </a:xfrm>
          <a:prstGeom prst="rect">
            <a:avLst/>
          </a:prstGeom>
        </p:spPr>
      </p:pic>
      <p:pic>
        <p:nvPicPr>
          <p:cNvPr id="4" name="Picture 3"/>
          <p:cNvPicPr>
            <a:picLocks noChangeAspect="1"/>
          </p:cNvPicPr>
          <p:nvPr/>
        </p:nvPicPr>
        <p:blipFill>
          <a:blip r:embed="rId4"/>
          <a:stretch>
            <a:fillRect/>
          </a:stretch>
        </p:blipFill>
        <p:spPr>
          <a:xfrm>
            <a:off x="12383997" y="5875396"/>
            <a:ext cx="3581400" cy="4532214"/>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heel(1)">
                                      <p:cBhvr>
                                        <p:cTn id="12" dur="2000"/>
                                        <p:tgtEl>
                                          <p:spTgt spid="3"/>
                                        </p:tgtEl>
                                      </p:cBhvr>
                                    </p:animEffect>
                                  </p:childTnLst>
                                </p:cTn>
                              </p:par>
                              <p:par>
                                <p:cTn id="13" presetID="21" presetClass="entr" presetSubtype="1" fill="hold" nodeType="with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wheel(1)">
                                      <p:cBhvr>
                                        <p:cTn id="15" dur="2000"/>
                                        <p:tgtEl>
                                          <p:spTgt spid="30"/>
                                        </p:tgtEl>
                                      </p:cBhvr>
                                    </p:animEffect>
                                  </p:childTnLst>
                                </p:cTn>
                              </p:par>
                              <p:par>
                                <p:cTn id="16" presetID="21" presetClass="entr" presetSubtype="1" fill="hold" nodeType="with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wheel(1)">
                                      <p:cBhvr>
                                        <p:cTn id="18"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AF1D9"/>
        </a:solidFill>
        <a:effectLst/>
      </p:bgPr>
    </p:bg>
    <p:spTree>
      <p:nvGrpSpPr>
        <p:cNvPr id="1" name=""/>
        <p:cNvGrpSpPr/>
        <p:nvPr/>
      </p:nvGrpSpPr>
      <p:grpSpPr>
        <a:xfrm>
          <a:off x="0" y="0"/>
          <a:ext cx="0" cy="0"/>
          <a:chOff x="0" y="0"/>
          <a:chExt cx="0" cy="0"/>
        </a:xfrm>
      </p:grpSpPr>
      <p:sp>
        <p:nvSpPr>
          <p:cNvPr id="2" name="TextBox 2"/>
          <p:cNvSpPr txBox="1"/>
          <p:nvPr/>
        </p:nvSpPr>
        <p:spPr>
          <a:xfrm>
            <a:off x="0" y="1559642"/>
            <a:ext cx="18287999" cy="1289458"/>
          </a:xfrm>
          <a:prstGeom prst="rect">
            <a:avLst/>
          </a:prstGeom>
        </p:spPr>
        <p:txBody>
          <a:bodyPr wrap="square" lIns="0" tIns="0" rIns="0" bIns="0" rtlCol="0" anchor="t">
            <a:spAutoFit/>
          </a:bodyPr>
          <a:lstStyle/>
          <a:p>
            <a:pPr marL="0" lvl="0" indent="0" algn="ctr">
              <a:lnSpc>
                <a:spcPts val="9900"/>
              </a:lnSpc>
            </a:pPr>
            <a:r>
              <a:rPr lang="en-US" sz="6000" b="1" dirty="0" smtClean="0">
                <a:solidFill>
                  <a:srgbClr val="5F3329"/>
                </a:solidFill>
                <a:latin typeface="Arial" panose="020B0604020202020204" pitchFamily="34" charset="0"/>
                <a:cs typeface="Arial" panose="020B0604020202020204" pitchFamily="34" charset="0"/>
              </a:rPr>
              <a:t>NỘI DUNG BÀI HỌC</a:t>
            </a:r>
            <a:endParaRPr lang="en-US" sz="6000" b="1" dirty="0">
              <a:solidFill>
                <a:srgbClr val="5F3329"/>
              </a:solidFill>
              <a:latin typeface="Arial" panose="020B0604020202020204" pitchFamily="34" charset="0"/>
              <a:cs typeface="Arial" panose="020B0604020202020204" pitchFamily="34" charset="0"/>
            </a:endParaRPr>
          </a:p>
        </p:txBody>
      </p:sp>
      <p:pic>
        <p:nvPicPr>
          <p:cNvPr id="3" name="Picture 3"/>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rot="5400000">
            <a:off x="2161351" y="3044276"/>
            <a:ext cx="1144029" cy="1567164"/>
          </a:xfrm>
          <a:prstGeom prst="rect">
            <a:avLst/>
          </a:prstGeom>
        </p:spPr>
      </p:pic>
      <p:grpSp>
        <p:nvGrpSpPr>
          <p:cNvPr id="4" name="Group 4"/>
          <p:cNvGrpSpPr/>
          <p:nvPr/>
        </p:nvGrpSpPr>
        <p:grpSpPr>
          <a:xfrm>
            <a:off x="3077633" y="2538951"/>
            <a:ext cx="1895468" cy="2063816"/>
            <a:chOff x="1371724" y="0"/>
            <a:chExt cx="2527291" cy="2751754"/>
          </a:xfrm>
        </p:grpSpPr>
        <p:pic>
          <p:nvPicPr>
            <p:cNvPr id="7" name="Picture 7"/>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rot="-10800000">
              <a:off x="1371724" y="0"/>
              <a:ext cx="2527291" cy="2751754"/>
            </a:xfrm>
            <a:prstGeom prst="rect">
              <a:avLst/>
            </a:prstGeom>
          </p:spPr>
        </p:pic>
        <p:sp>
          <p:nvSpPr>
            <p:cNvPr id="8" name="TextBox 8"/>
            <p:cNvSpPr txBox="1"/>
            <p:nvPr/>
          </p:nvSpPr>
          <p:spPr>
            <a:xfrm>
              <a:off x="1854679" y="787968"/>
              <a:ext cx="1187570" cy="1156768"/>
            </a:xfrm>
            <a:prstGeom prst="rect">
              <a:avLst/>
            </a:prstGeom>
          </p:spPr>
          <p:txBody>
            <a:bodyPr lIns="0" tIns="0" rIns="0" bIns="0" rtlCol="0" anchor="t">
              <a:spAutoFit/>
            </a:bodyPr>
            <a:lstStyle/>
            <a:p>
              <a:pPr marL="0" lvl="0" indent="0" algn="ctr">
                <a:lnSpc>
                  <a:spcPts val="6600"/>
                </a:lnSpc>
              </a:pPr>
              <a:r>
                <a:rPr lang="en-US" sz="6000">
                  <a:solidFill>
                    <a:srgbClr val="FAF1D9"/>
                  </a:solidFill>
                  <a:latin typeface="Bryndan Write" panose="02000503000000000000"/>
                </a:rPr>
                <a:t>1</a:t>
              </a:r>
              <a:endParaRPr lang="en-US" sz="6000">
                <a:solidFill>
                  <a:srgbClr val="FAF1D9"/>
                </a:solidFill>
                <a:latin typeface="Bryndan Write" panose="02000503000000000000"/>
              </a:endParaRPr>
            </a:p>
          </p:txBody>
        </p:sp>
      </p:grpSp>
      <p:pic>
        <p:nvPicPr>
          <p:cNvPr id="9" name="Picture 9"/>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rot="5400000">
            <a:off x="4233306" y="5186100"/>
            <a:ext cx="1144029" cy="1567164"/>
          </a:xfrm>
          <a:prstGeom prst="rect">
            <a:avLst/>
          </a:prstGeom>
        </p:spPr>
      </p:pic>
      <p:grpSp>
        <p:nvGrpSpPr>
          <p:cNvPr id="10" name="Group 10"/>
          <p:cNvGrpSpPr/>
          <p:nvPr/>
        </p:nvGrpSpPr>
        <p:grpSpPr>
          <a:xfrm>
            <a:off x="3052233" y="4771512"/>
            <a:ext cx="1895468" cy="2063815"/>
            <a:chOff x="1371724" y="0"/>
            <a:chExt cx="2527291" cy="2751754"/>
          </a:xfrm>
        </p:grpSpPr>
        <p:pic>
          <p:nvPicPr>
            <p:cNvPr id="13" name="Picture 13"/>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371724" y="0"/>
              <a:ext cx="2527291" cy="2751754"/>
            </a:xfrm>
            <a:prstGeom prst="rect">
              <a:avLst/>
            </a:prstGeom>
          </p:spPr>
        </p:pic>
        <p:sp>
          <p:nvSpPr>
            <p:cNvPr id="14" name="TextBox 14"/>
            <p:cNvSpPr txBox="1"/>
            <p:nvPr/>
          </p:nvSpPr>
          <p:spPr>
            <a:xfrm>
              <a:off x="1854679" y="787968"/>
              <a:ext cx="1187570" cy="1156768"/>
            </a:xfrm>
            <a:prstGeom prst="rect">
              <a:avLst/>
            </a:prstGeom>
          </p:spPr>
          <p:txBody>
            <a:bodyPr lIns="0" tIns="0" rIns="0" bIns="0" rtlCol="0" anchor="t">
              <a:spAutoFit/>
            </a:bodyPr>
            <a:lstStyle/>
            <a:p>
              <a:pPr marL="0" lvl="0" indent="0" algn="ctr">
                <a:lnSpc>
                  <a:spcPts val="6600"/>
                </a:lnSpc>
              </a:pPr>
              <a:r>
                <a:rPr lang="en-US" sz="6000" dirty="0">
                  <a:solidFill>
                    <a:srgbClr val="FAF1D9"/>
                  </a:solidFill>
                  <a:latin typeface="Bryndan Write" panose="02000503000000000000"/>
                </a:rPr>
                <a:t>2</a:t>
              </a:r>
              <a:endParaRPr lang="en-US" sz="6000" dirty="0">
                <a:solidFill>
                  <a:srgbClr val="FAF1D9"/>
                </a:solidFill>
                <a:latin typeface="Bryndan Write" panose="02000503000000000000"/>
              </a:endParaRPr>
            </a:p>
          </p:txBody>
        </p:sp>
      </p:grpSp>
      <p:pic>
        <p:nvPicPr>
          <p:cNvPr id="15" name="Picture 15"/>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p:blipFill>
        <p:spPr>
          <a:xfrm rot="5400000">
            <a:off x="2161350" y="7489224"/>
            <a:ext cx="1144029" cy="1567164"/>
          </a:xfrm>
          <a:prstGeom prst="rect">
            <a:avLst/>
          </a:prstGeom>
        </p:spPr>
      </p:pic>
      <p:grpSp>
        <p:nvGrpSpPr>
          <p:cNvPr id="16" name="Group 16"/>
          <p:cNvGrpSpPr/>
          <p:nvPr/>
        </p:nvGrpSpPr>
        <p:grpSpPr>
          <a:xfrm>
            <a:off x="3088518" y="7050386"/>
            <a:ext cx="1895468" cy="2063816"/>
            <a:chOff x="1371725" y="0"/>
            <a:chExt cx="2527291" cy="2751754"/>
          </a:xfrm>
        </p:grpSpPr>
        <p:pic>
          <p:nvPicPr>
            <p:cNvPr id="19" name="Picture 19"/>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rot="10800000">
              <a:off x="1371725" y="0"/>
              <a:ext cx="2527291" cy="2751754"/>
            </a:xfrm>
            <a:prstGeom prst="rect">
              <a:avLst/>
            </a:prstGeom>
          </p:spPr>
        </p:pic>
        <p:sp>
          <p:nvSpPr>
            <p:cNvPr id="20" name="TextBox 20"/>
            <p:cNvSpPr txBox="1"/>
            <p:nvPr/>
          </p:nvSpPr>
          <p:spPr>
            <a:xfrm>
              <a:off x="1854679" y="787968"/>
              <a:ext cx="1187570" cy="1156768"/>
            </a:xfrm>
            <a:prstGeom prst="rect">
              <a:avLst/>
            </a:prstGeom>
          </p:spPr>
          <p:txBody>
            <a:bodyPr lIns="0" tIns="0" rIns="0" bIns="0" rtlCol="0" anchor="t">
              <a:spAutoFit/>
            </a:bodyPr>
            <a:lstStyle/>
            <a:p>
              <a:pPr marL="0" lvl="0" indent="0" algn="ctr">
                <a:lnSpc>
                  <a:spcPts val="6600"/>
                </a:lnSpc>
              </a:pPr>
              <a:r>
                <a:rPr lang="en-US" sz="6000">
                  <a:solidFill>
                    <a:srgbClr val="FAF1D9"/>
                  </a:solidFill>
                  <a:latin typeface="Bryndan Write" panose="02000503000000000000"/>
                </a:rPr>
                <a:t>3</a:t>
              </a:r>
              <a:endParaRPr lang="en-US" sz="6000">
                <a:solidFill>
                  <a:srgbClr val="FAF1D9"/>
                </a:solidFill>
                <a:latin typeface="Bryndan Write" panose="02000503000000000000"/>
              </a:endParaRPr>
            </a:p>
          </p:txBody>
        </p:sp>
      </p:grpSp>
      <p:sp>
        <p:nvSpPr>
          <p:cNvPr id="21" name="TextBox 2"/>
          <p:cNvSpPr txBox="1"/>
          <p:nvPr/>
        </p:nvSpPr>
        <p:spPr>
          <a:xfrm>
            <a:off x="6059714" y="3007179"/>
            <a:ext cx="12228286" cy="1269578"/>
          </a:xfrm>
          <a:prstGeom prst="rect">
            <a:avLst/>
          </a:prstGeom>
        </p:spPr>
        <p:txBody>
          <a:bodyPr wrap="square" lIns="0" tIns="0" rIns="0" bIns="0" rtlCol="0" anchor="t">
            <a:spAutoFit/>
          </a:bodyPr>
          <a:lstStyle/>
          <a:p>
            <a:pPr marL="0" lvl="0" indent="0" algn="just">
              <a:lnSpc>
                <a:spcPts val="9900"/>
              </a:lnSpc>
            </a:pPr>
            <a:r>
              <a:rPr lang="en-US" sz="5000" dirty="0" smtClean="0">
                <a:solidFill>
                  <a:srgbClr val="5F3329"/>
                </a:solidFill>
                <a:latin typeface="Arial" panose="020B0604020202020204" pitchFamily="34" charset="0"/>
                <a:cs typeface="Arial" panose="020B0604020202020204" pitchFamily="34" charset="0"/>
              </a:rPr>
              <a:t>Nhà nước đầu tiên của người Việt cổ</a:t>
            </a:r>
            <a:endParaRPr lang="en-US" sz="5000" dirty="0">
              <a:solidFill>
                <a:srgbClr val="5F3329"/>
              </a:solidFill>
              <a:latin typeface="Arial" panose="020B0604020202020204" pitchFamily="34" charset="0"/>
              <a:cs typeface="Arial" panose="020B0604020202020204" pitchFamily="34" charset="0"/>
            </a:endParaRPr>
          </a:p>
        </p:txBody>
      </p:sp>
      <p:sp>
        <p:nvSpPr>
          <p:cNvPr id="22" name="TextBox 2"/>
          <p:cNvSpPr txBox="1"/>
          <p:nvPr/>
        </p:nvSpPr>
        <p:spPr>
          <a:xfrm>
            <a:off x="6096000" y="5085372"/>
            <a:ext cx="12192000" cy="1269578"/>
          </a:xfrm>
          <a:prstGeom prst="rect">
            <a:avLst/>
          </a:prstGeom>
        </p:spPr>
        <p:txBody>
          <a:bodyPr wrap="square" lIns="0" tIns="0" rIns="0" bIns="0" rtlCol="0" anchor="t">
            <a:spAutoFit/>
          </a:bodyPr>
          <a:lstStyle/>
          <a:p>
            <a:pPr marL="0" lvl="0" indent="0" algn="just">
              <a:lnSpc>
                <a:spcPts val="9900"/>
              </a:lnSpc>
            </a:pPr>
            <a:r>
              <a:rPr lang="en-US" sz="5000" dirty="0" smtClean="0">
                <a:solidFill>
                  <a:srgbClr val="5F3329"/>
                </a:solidFill>
                <a:latin typeface="Arial" panose="020B0604020202020204" pitchFamily="34" charset="0"/>
                <a:cs typeface="Arial" panose="020B0604020202020204" pitchFamily="34" charset="0"/>
              </a:rPr>
              <a:t>Sự ra đời nhà nước Âu Lạc</a:t>
            </a:r>
            <a:endParaRPr lang="en-US" sz="5000" dirty="0">
              <a:solidFill>
                <a:srgbClr val="5F3329"/>
              </a:solidFill>
              <a:latin typeface="Arial" panose="020B0604020202020204" pitchFamily="34" charset="0"/>
              <a:cs typeface="Arial" panose="020B0604020202020204" pitchFamily="34" charset="0"/>
            </a:endParaRPr>
          </a:p>
        </p:txBody>
      </p:sp>
      <p:sp>
        <p:nvSpPr>
          <p:cNvPr id="23" name="TextBox 2"/>
          <p:cNvSpPr txBox="1"/>
          <p:nvPr/>
        </p:nvSpPr>
        <p:spPr>
          <a:xfrm>
            <a:off x="6059714" y="7177468"/>
            <a:ext cx="8854970" cy="1795363"/>
          </a:xfrm>
          <a:prstGeom prst="rect">
            <a:avLst/>
          </a:prstGeom>
        </p:spPr>
        <p:txBody>
          <a:bodyPr wrap="square" lIns="0" tIns="0" rIns="0" bIns="0" rtlCol="0" anchor="t">
            <a:spAutoFit/>
          </a:bodyPr>
          <a:lstStyle/>
          <a:p>
            <a:pPr marL="0" lvl="0" indent="0" algn="just">
              <a:lnSpc>
                <a:spcPts val="7000"/>
              </a:lnSpc>
            </a:pPr>
            <a:r>
              <a:rPr lang="en-US" sz="5000" dirty="0" smtClean="0">
                <a:solidFill>
                  <a:srgbClr val="5F3329"/>
                </a:solidFill>
                <a:latin typeface="Arial" panose="020B0604020202020204" pitchFamily="34" charset="0"/>
                <a:cs typeface="Arial" panose="020B0604020202020204" pitchFamily="34" charset="0"/>
              </a:rPr>
              <a:t>Đời sống vật chất và tinh thần</a:t>
            </a:r>
            <a:endParaRPr lang="en-US" sz="5000" dirty="0" smtClean="0">
              <a:solidFill>
                <a:srgbClr val="5F3329"/>
              </a:solidFill>
              <a:latin typeface="Arial" panose="020B0604020202020204" pitchFamily="34" charset="0"/>
              <a:cs typeface="Arial" panose="020B0604020202020204" pitchFamily="34" charset="0"/>
            </a:endParaRPr>
          </a:p>
          <a:p>
            <a:pPr marL="0" lvl="0" indent="0" algn="just">
              <a:lnSpc>
                <a:spcPts val="7000"/>
              </a:lnSpc>
            </a:pPr>
            <a:r>
              <a:rPr lang="en-US" sz="5000" dirty="0" smtClean="0">
                <a:solidFill>
                  <a:srgbClr val="5F3329"/>
                </a:solidFill>
                <a:latin typeface="Arial" panose="020B0604020202020204" pitchFamily="34" charset="0"/>
                <a:cs typeface="Arial" panose="020B0604020202020204" pitchFamily="34" charset="0"/>
              </a:rPr>
              <a:t> của cư dân Văn Lang, Âu Lạc</a:t>
            </a:r>
            <a:endParaRPr lang="en-US" sz="5000" dirty="0">
              <a:solidFill>
                <a:srgbClr val="5F3329"/>
              </a:solidFill>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down)">
                                      <p:cBhvr>
                                        <p:cTn id="12" dur="500"/>
                                        <p:tgtEl>
                                          <p:spTgt spid="3"/>
                                        </p:tgtEl>
                                      </p:cBhvr>
                                    </p:animEffect>
                                  </p:childTnLst>
                                </p:cTn>
                              </p:par>
                              <p:par>
                                <p:cTn id="13" presetID="22" presetClass="entr" presetSubtype="4"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wipe(down)">
                                      <p:cBhvr>
                                        <p:cTn id="15" dur="500"/>
                                        <p:tgtEl>
                                          <p:spTgt spid="4"/>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wipe(down)">
                                      <p:cBhvr>
                                        <p:cTn id="18" dur="500"/>
                                        <p:tgtEl>
                                          <p:spTgt spid="21"/>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down)">
                                      <p:cBhvr>
                                        <p:cTn id="23" dur="500"/>
                                        <p:tgtEl>
                                          <p:spTgt spid="10"/>
                                        </p:tgtEl>
                                      </p:cBhvr>
                                    </p:animEffect>
                                  </p:childTnLst>
                                </p:cTn>
                              </p:par>
                              <p:par>
                                <p:cTn id="24" presetID="22" presetClass="entr" presetSubtype="4" fill="hold"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wipe(down)">
                                      <p:cBhvr>
                                        <p:cTn id="26" dur="500"/>
                                        <p:tgtEl>
                                          <p:spTgt spid="9"/>
                                        </p:tgtEl>
                                      </p:cBhvr>
                                    </p:animEffect>
                                  </p:childTnLst>
                                </p:cTn>
                              </p:par>
                              <p:par>
                                <p:cTn id="27" presetID="22" presetClass="entr" presetSubtype="4" fill="hold" grpId="0" nodeType="with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wipe(down)">
                                      <p:cBhvr>
                                        <p:cTn id="29" dur="500"/>
                                        <p:tgtEl>
                                          <p:spTgt spid="22"/>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nodeType="click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wipe(down)">
                                      <p:cBhvr>
                                        <p:cTn id="34" dur="500"/>
                                        <p:tgtEl>
                                          <p:spTgt spid="16"/>
                                        </p:tgtEl>
                                      </p:cBhvr>
                                    </p:animEffect>
                                  </p:childTnLst>
                                </p:cTn>
                              </p:par>
                              <p:par>
                                <p:cTn id="35" presetID="22" presetClass="entr" presetSubtype="4" fill="hold" nodeType="with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down)">
                                      <p:cBhvr>
                                        <p:cTn id="37" dur="500"/>
                                        <p:tgtEl>
                                          <p:spTgt spid="15"/>
                                        </p:tgtEl>
                                      </p:cBhvr>
                                    </p:animEffect>
                                  </p:childTnLst>
                                </p:cTn>
                              </p:par>
                              <p:par>
                                <p:cTn id="38" presetID="22" presetClass="entr" presetSubtype="4" fill="hold" grpId="0"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wipe(down)">
                                      <p:cBhvr>
                                        <p:cTn id="4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1" grpId="0"/>
      <p:bldP spid="22" grpId="0"/>
      <p:bldP spid="23" grpId="0"/>
    </p:bldLst>
  </p:timing>
</p:sld>
</file>

<file path=ppt/tags/tag1.xml><?xml version="1.0" encoding="utf-8"?>
<p:tagLst xmlns:p="http://schemas.openxmlformats.org/presentationml/2006/main">
  <p:tag name="POWER_USER_TAGS_ICONS" val="time-check_POWER_USER_SEPARATOR_ICONS_what-time-is-it_POWER_USER_SEPARATOR_ICONS_clock"/>
</p:tagLst>
</file>

<file path=ppt/tags/tag2.xml><?xml version="1.0" encoding="utf-8"?>
<p:tagLst xmlns:p="http://schemas.openxmlformats.org/presentationml/2006/main">
  <p:tag name="POWER_USER_TAGS_ICONS" val=""/>
</p:tagLst>
</file>

<file path=ppt/tags/tag3.xml><?xml version="1.0" encoding="utf-8"?>
<p:tagLst xmlns:p="http://schemas.openxmlformats.org/presentationml/2006/main">
  <p:tag name="POWER_USER_TAGS_ICONS" val=""/>
</p:tagLst>
</file>

<file path=ppt/tags/tag4.xml><?xml version="1.0" encoding="utf-8"?>
<p:tagLst xmlns:p="http://schemas.openxmlformats.org/presentationml/2006/main">
  <p:tag name="POWER_USER_TAGS_ICONS" val=""/>
</p:tagLst>
</file>

<file path=ppt/tags/tag5.xml><?xml version="1.0" encoding="utf-8"?>
<p:tagLst xmlns:p="http://schemas.openxmlformats.org/presentationml/2006/main">
  <p:tag name="POWER_USER_TAGS_ICONS" val="presentation*conference*powerpoint*projector*screen*slidedeck*slideshow**discussion*lecture*meeting*person*slide*teacher"/>
</p:tagLst>
</file>

<file path=ppt/tags/tag6.xml><?xml version="1.0" encoding="utf-8"?>
<p:tagLst xmlns:p="http://schemas.openxmlformats.org/presentationml/2006/main">
  <p:tag name="POWER_USER_TAGS_ICONS" val="question_POWER_USER_SEPARATOR_ICONS_help"/>
</p:tagLst>
</file>

<file path=ppt/tags/tag7.xml><?xml version="1.0" encoding="utf-8"?>
<p:tagLst xmlns:p="http://schemas.openxmlformats.org/presentationml/2006/main">
  <p:tag name="POWER_USER_TAGS_ICONS" val="question_POWER_USER_SEPARATOR_ICONS_help"/>
</p:tagLst>
</file>

<file path=ppt/tags/tag8.xml><?xml version="1.0" encoding="utf-8"?>
<p:tagLst xmlns:p="http://schemas.openxmlformats.org/presentationml/2006/main">
  <p:tag name="POWER_USER_TAGS_ICONS" val="question_POWER_USER_SEPARATOR_ICONS_help"/>
</p:tagLst>
</file>

<file path=ppt/tags/tag9.xml><?xml version="1.0" encoding="utf-8"?>
<p:tagLst xmlns:p="http://schemas.openxmlformats.org/presentationml/2006/main">
  <p:tag name="POWER_USER_ID_TEMPLATES" val="Hexagons_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225</Words>
  <Application>WPS Presentation</Application>
  <PresentationFormat>Custom</PresentationFormat>
  <Paragraphs>469</Paragraphs>
  <Slides>49</Slides>
  <Notes>5</Notes>
  <HiddenSlides>0</HiddenSlides>
  <MMClips>1</MMClips>
  <ScaleCrop>false</ScaleCrop>
  <HeadingPairs>
    <vt:vector size="6" baseType="variant">
      <vt:variant>
        <vt:lpstr>已用的字体</vt:lpstr>
      </vt:variant>
      <vt:variant>
        <vt:i4>14</vt:i4>
      </vt:variant>
      <vt:variant>
        <vt:lpstr>主题</vt:lpstr>
      </vt:variant>
      <vt:variant>
        <vt:i4>1</vt:i4>
      </vt:variant>
      <vt:variant>
        <vt:lpstr>幻灯片标题</vt:lpstr>
      </vt:variant>
      <vt:variant>
        <vt:i4>49</vt:i4>
      </vt:variant>
    </vt:vector>
  </HeadingPairs>
  <TitlesOfParts>
    <vt:vector size="64" baseType="lpstr">
      <vt:lpstr>Arial</vt:lpstr>
      <vt:lpstr>SimSun</vt:lpstr>
      <vt:lpstr>Wingdings</vt:lpstr>
      <vt:lpstr>Times New Roman</vt:lpstr>
      <vt:lpstr>Bryndan Write</vt:lpstr>
      <vt:lpstr>Microsoft YaHei</vt:lpstr>
      <vt:lpstr>Arial Unicode MS</vt:lpstr>
      <vt:lpstr>Calibri</vt:lpstr>
      <vt:lpstr>Calibri</vt:lpstr>
      <vt:lpstr>Public Sans Bold</vt:lpstr>
      <vt:lpstr>UTM Scriptina KT</vt:lpstr>
      <vt:lpstr>Public Sans</vt:lpstr>
      <vt:lpstr>Roboto Bold</vt:lpstr>
      <vt:lpstr>Wide Latin</vt:lpstr>
      <vt:lpstr>Office Theme</vt:lpstr>
      <vt:lpstr>PowerPoint 演示文稿</vt:lpstr>
      <vt:lpstr>PowerPoint 演示文稿</vt:lpstr>
      <vt:lpstr>Em đang thấy truyền thuyết nào?</vt:lpstr>
      <vt:lpstr>Em đang thấy truyền thuyết nào?</vt:lpstr>
      <vt:lpstr>Em đang thấy truyền thuyết nào?</vt:lpstr>
      <vt:lpstr>Em đang thấy truyền thuyết nào?</vt:lpstr>
      <vt:lpstr>Đây là đâu?</vt:lpstr>
      <vt:lpstr>PowerPoint 演示文稿</vt:lpstr>
      <vt:lpstr>PowerPoint 演示文稿</vt:lpstr>
      <vt:lpstr>PowerPoint 演示文稿</vt:lpstr>
      <vt:lpstr>1. Nhà nước đầu tiên của người Việt cổ</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LUẬT CHƠI</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rần Bích Hà</dc:creator>
  <cp:lastModifiedBy>Trương Thảo Vân</cp:lastModifiedBy>
  <cp:revision>61</cp:revision>
  <dcterms:created xsi:type="dcterms:W3CDTF">2006-08-16T00:00:00Z</dcterms:created>
  <dcterms:modified xsi:type="dcterms:W3CDTF">2025-01-24T07:07: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2A8525E427F340AFB2F6383F810C332B_13</vt:lpwstr>
  </property>
  <property fmtid="{D5CDD505-2E9C-101B-9397-08002B2CF9AE}" pid="3" name="KSOProductBuildVer">
    <vt:lpwstr>1033-12.2.0.19805</vt:lpwstr>
  </property>
</Properties>
</file>